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0" r:id="rId1"/>
  </p:sldMasterIdLst>
  <p:notesMasterIdLst>
    <p:notesMasterId r:id="rId14"/>
  </p:notesMasterIdLst>
  <p:handoutMasterIdLst>
    <p:handoutMasterId r:id="rId15"/>
  </p:handoutMasterIdLst>
  <p:sldIdLst>
    <p:sldId id="402" r:id="rId2"/>
    <p:sldId id="595" r:id="rId3"/>
    <p:sldId id="409" r:id="rId4"/>
    <p:sldId id="596" r:id="rId5"/>
    <p:sldId id="597" r:id="rId6"/>
    <p:sldId id="598" r:id="rId7"/>
    <p:sldId id="599" r:id="rId8"/>
    <p:sldId id="600" r:id="rId9"/>
    <p:sldId id="601" r:id="rId10"/>
    <p:sldId id="602" r:id="rId11"/>
    <p:sldId id="603" r:id="rId12"/>
    <p:sldId id="1276" r:id="rId13"/>
  </p:sldIdLst>
  <p:sldSz cx="9144000" cy="5143500" type="screen16x9"/>
  <p:notesSz cx="6797675" cy="9926638"/>
  <p:custDataLst>
    <p:tags r:id="rId16"/>
  </p:custDataLst>
  <p:defaultTextStyle>
    <a:defPPr>
      <a:defRPr lang="en-US"/>
    </a:defPPr>
    <a:lvl1pPr marL="0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55469C24-AC60-634F-B80D-D34C475A6E56}">
          <p14:sldIdLst>
            <p14:sldId id="402"/>
          </p14:sldIdLst>
        </p14:section>
        <p14:section name="Title" id="{B89155CA-C130-2E47-89F8-800FB6077408}">
          <p14:sldIdLst>
            <p14:sldId id="595"/>
            <p14:sldId id="409"/>
            <p14:sldId id="596"/>
            <p14:sldId id="597"/>
            <p14:sldId id="598"/>
            <p14:sldId id="599"/>
            <p14:sldId id="600"/>
            <p14:sldId id="601"/>
            <p14:sldId id="602"/>
            <p14:sldId id="603"/>
            <p14:sldId id="12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132">
          <p15:clr>
            <a:srgbClr val="A4A3A4"/>
          </p15:clr>
        </p15:guide>
        <p15:guide id="2" pos="2859">
          <p15:clr>
            <a:srgbClr val="A4A3A4"/>
          </p15:clr>
        </p15:guide>
        <p15:guide id="3" orient="horz" pos="940">
          <p15:clr>
            <a:srgbClr val="A4A3A4"/>
          </p15:clr>
        </p15:guide>
        <p15:guide id="4" orient="horz" pos="3762">
          <p15:clr>
            <a:srgbClr val="A4A3A4"/>
          </p15:clr>
        </p15:guide>
        <p15:guide id="5" orient="horz" pos="1593" userDrawn="1">
          <p15:clr>
            <a:srgbClr val="A4A3A4"/>
          </p15:clr>
        </p15:guide>
        <p15:guide id="6" pos="320">
          <p15:clr>
            <a:srgbClr val="A4A3A4"/>
          </p15:clr>
        </p15:guide>
        <p15:guide id="7" pos="5926">
          <p15:clr>
            <a:srgbClr val="A4A3A4"/>
          </p15:clr>
        </p15:guide>
        <p15:guide id="8" orient="horz" pos="601">
          <p15:clr>
            <a:srgbClr val="A4A3A4"/>
          </p15:clr>
        </p15:guide>
        <p15:guide id="9" orient="horz" pos="3913">
          <p15:clr>
            <a:srgbClr val="A4A3A4"/>
          </p15:clr>
        </p15:guide>
        <p15:guide id="10" orient="horz" pos="4237">
          <p15:clr>
            <a:srgbClr val="A4A3A4"/>
          </p15:clr>
        </p15:guide>
        <p15:guide id="11" orient="horz" pos="813">
          <p15:clr>
            <a:srgbClr val="A4A3A4"/>
          </p15:clr>
        </p15:guide>
        <p15:guide id="12" pos="206">
          <p15:clr>
            <a:srgbClr val="A4A3A4"/>
          </p15:clr>
        </p15:guide>
        <p15:guide id="13" pos="6040">
          <p15:clr>
            <a:srgbClr val="A4A3A4"/>
          </p15:clr>
        </p15:guide>
        <p15:guide id="14" orient="horz" pos="874">
          <p15:clr>
            <a:srgbClr val="A4A3A4"/>
          </p15:clr>
        </p15:guide>
        <p15:guide id="15" orient="horz" pos="705">
          <p15:clr>
            <a:srgbClr val="A4A3A4"/>
          </p15:clr>
        </p15:guide>
        <p15:guide id="16" orient="horz" pos="2822">
          <p15:clr>
            <a:srgbClr val="A4A3A4"/>
          </p15:clr>
        </p15:guide>
        <p15:guide id="17" orient="horz" pos="1195">
          <p15:clr>
            <a:srgbClr val="A4A3A4"/>
          </p15:clr>
        </p15:guide>
        <p15:guide id="18" orient="horz" pos="123">
          <p15:clr>
            <a:srgbClr val="A4A3A4"/>
          </p15:clr>
        </p15:guide>
        <p15:guide id="19" orient="horz" pos="2935">
          <p15:clr>
            <a:srgbClr val="A4A3A4"/>
          </p15:clr>
        </p15:guide>
        <p15:guide id="20" orient="horz" pos="3178">
          <p15:clr>
            <a:srgbClr val="A4A3A4"/>
          </p15:clr>
        </p15:guide>
        <p15:guide id="21" orient="horz" pos="254">
          <p15:clr>
            <a:srgbClr val="A4A3A4"/>
          </p15:clr>
        </p15:guide>
        <p15:guide id="22" pos="2639">
          <p15:clr>
            <a:srgbClr val="A4A3A4"/>
          </p15:clr>
        </p15:guide>
        <p15:guide id="23" pos="254">
          <p15:clr>
            <a:srgbClr val="A4A3A4"/>
          </p15:clr>
        </p15:guide>
        <p15:guide id="24" pos="5470">
          <p15:clr>
            <a:srgbClr val="A4A3A4"/>
          </p15:clr>
        </p15:guide>
        <p15:guide id="25" pos="178">
          <p15:clr>
            <a:srgbClr val="A4A3A4"/>
          </p15:clr>
        </p15:guide>
        <p15:guide id="26" pos="5575">
          <p15:clr>
            <a:srgbClr val="A4A3A4"/>
          </p15:clr>
        </p15:guide>
        <p15:guide id="27" pos="793">
          <p15:clr>
            <a:srgbClr val="A4A3A4"/>
          </p15:clr>
        </p15:guide>
        <p15:guide id="28" orient="horz" pos="9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ian Herlihy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693"/>
    <a:srgbClr val="9EF5A3"/>
    <a:srgbClr val="000000"/>
    <a:srgbClr val="002252"/>
    <a:srgbClr val="17181C"/>
    <a:srgbClr val="82C9F5"/>
    <a:srgbClr val="CC82FC"/>
    <a:srgbClr val="5499C7"/>
    <a:srgbClr val="FBD7CF"/>
    <a:srgbClr val="3778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13" autoAdjust="0"/>
    <p:restoredTop sz="86455" autoAdjust="0"/>
  </p:normalViewPr>
  <p:slideViewPr>
    <p:cSldViewPr snapToGrid="0">
      <p:cViewPr varScale="1">
        <p:scale>
          <a:sx n="88" d="100"/>
          <a:sy n="88" d="100"/>
        </p:scale>
        <p:origin x="936" y="184"/>
      </p:cViewPr>
      <p:guideLst>
        <p:guide orient="horz" pos="1132"/>
        <p:guide pos="2859"/>
        <p:guide orient="horz" pos="940"/>
        <p:guide orient="horz" pos="3762"/>
        <p:guide orient="horz" pos="1593"/>
        <p:guide pos="320"/>
        <p:guide pos="5926"/>
        <p:guide orient="horz" pos="601"/>
        <p:guide orient="horz" pos="3913"/>
        <p:guide orient="horz" pos="4237"/>
        <p:guide orient="horz" pos="813"/>
        <p:guide pos="206"/>
        <p:guide pos="6040"/>
        <p:guide orient="horz" pos="874"/>
        <p:guide orient="horz" pos="705"/>
        <p:guide orient="horz" pos="2822"/>
        <p:guide orient="horz" pos="1195"/>
        <p:guide orient="horz" pos="123"/>
        <p:guide orient="horz" pos="2935"/>
        <p:guide orient="horz" pos="3178"/>
        <p:guide orient="horz" pos="254"/>
        <p:guide pos="2639"/>
        <p:guide pos="254"/>
        <p:guide pos="5470"/>
        <p:guide pos="178"/>
        <p:guide pos="5575"/>
        <p:guide pos="793"/>
        <p:guide orient="horz" pos="923"/>
      </p:guideLst>
    </p:cSldViewPr>
  </p:slideViewPr>
  <p:outlineViewPr>
    <p:cViewPr>
      <p:scale>
        <a:sx n="33" d="100"/>
        <a:sy n="33" d="100"/>
      </p:scale>
      <p:origin x="0" y="116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6" d="100"/>
          <a:sy n="76" d="100"/>
        </p:scale>
        <p:origin x="-4002" y="-102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9699923509561311"/>
          <c:y val="6.5086631612908882E-2"/>
          <c:w val="0.50937808773903259"/>
          <c:h val="0.7128574044523505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6B8F00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>
                <c:manualLayout>
                  <c:x val="-1.371428571428571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9B3-ED49-AA90-A39825222E4F}"/>
                </c:ext>
              </c:extLst>
            </c:dLbl>
            <c:dLbl>
              <c:idx val="1"/>
              <c:layout>
                <c:manualLayout>
                  <c:x val="-1.3714285714285719E-2"/>
                  <c:y val="3.32225913621262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B3-ED49-AA90-A39825222E4F}"/>
                </c:ext>
              </c:extLst>
            </c:dLbl>
            <c:dLbl>
              <c:idx val="2"/>
              <c:layout>
                <c:manualLayout>
                  <c:x val="-9.1428571428570585E-3"/>
                  <c:y val="1.10741971207087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9B3-ED49-AA90-A39825222E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Traditional large ISP players (Telkom, IS/MWEB, Vox)</c:v>
                </c:pt>
                <c:pt idx="1">
                  <c:v>Vodacom, MTN, Cell C, Liquid Telecom</c:v>
                </c:pt>
                <c:pt idx="2">
                  <c:v>Others including SEACOM, Bit Co, AfriHost etc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57</c:v>
                </c:pt>
                <c:pt idx="1">
                  <c:v>8</c:v>
                </c:pt>
                <c:pt idx="2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9B3-ED49-AA90-A39825222E4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rgbClr val="14ADB5"/>
            </a:solidFill>
            <a:ln w="9525">
              <a:solidFill>
                <a:schemeClr val="bg1"/>
              </a:solidFill>
            </a:ln>
          </c:spPr>
          <c:invertIfNegative val="0"/>
          <c:dLbls>
            <c:dLbl>
              <c:idx val="0"/>
              <c:layout>
                <c:manualLayout>
                  <c:x val="-9.1428571428571435E-3"/>
                  <c:y val="-1.10741971207087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9B3-ED49-AA90-A39825222E4F}"/>
                </c:ext>
              </c:extLst>
            </c:dLbl>
            <c:dLbl>
              <c:idx val="1"/>
              <c:layout>
                <c:manualLayout>
                  <c:x val="-4.5714285714285726E-3"/>
                  <c:y val="-1.10741971207087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9B3-ED49-AA90-A39825222E4F}"/>
                </c:ext>
              </c:extLst>
            </c:dLbl>
            <c:dLbl>
              <c:idx val="2"/>
              <c:layout>
                <c:manualLayout>
                  <c:x val="-9.1428571428570585E-3"/>
                  <c:y val="-1.10741971207087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9B3-ED49-AA90-A39825222E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Traditional large ISP players (Telkom, IS/MWEB, Vox)</c:v>
                </c:pt>
                <c:pt idx="1">
                  <c:v>Vodacom, MTN, Cell C, Liquid Telecom</c:v>
                </c:pt>
                <c:pt idx="2">
                  <c:v>Others including SEACOM, Bit Co, AfriHost etc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72</c:v>
                </c:pt>
                <c:pt idx="1">
                  <c:v>1</c:v>
                </c:pt>
                <c:pt idx="2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9B3-ED49-AA90-A39825222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55316736"/>
        <c:axId val="255319424"/>
      </c:barChart>
      <c:catAx>
        <c:axId val="25531673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 algn="r">
              <a:defRPr/>
            </a:pPr>
            <a:endParaRPr lang="en-US"/>
          </a:p>
        </c:txPr>
        <c:crossAx val="255319424"/>
        <c:crosses val="autoZero"/>
        <c:auto val="1"/>
        <c:lblAlgn val="ctr"/>
        <c:lblOffset val="100"/>
        <c:noMultiLvlLbl val="0"/>
      </c:catAx>
      <c:valAx>
        <c:axId val="255319424"/>
        <c:scaling>
          <c:orientation val="minMax"/>
          <c:max val="100"/>
        </c:scaling>
        <c:delete val="0"/>
        <c:axPos val="b"/>
        <c:numFmt formatCode="0%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255316736"/>
        <c:crosses val="autoZero"/>
        <c:crossBetween val="between"/>
        <c:dispUnits>
          <c:builtInUnit val="hundreds"/>
          <c:dispUnitsLbl/>
        </c:dispUnits>
      </c:valAx>
    </c:plotArea>
    <c:legend>
      <c:legendPos val="r"/>
      <c:layout>
        <c:manualLayout>
          <c:xMode val="edge"/>
          <c:yMode val="edge"/>
          <c:x val="0.71749291338582688"/>
          <c:y val="3.4348322738727434E-2"/>
          <c:w val="0.27379113610798644"/>
          <c:h val="0.11200411640756136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spPr>
    <a:ln>
      <a:solidFill>
        <a:schemeClr val="tx1"/>
      </a:solidFill>
    </a:ln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B2974F-7284-454E-97D1-086DB941F4BC}" type="datetimeFigureOut">
              <a:rPr lang="en-US" smtClean="0"/>
              <a:pPr/>
              <a:t>8/27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77731-6F77-AA4A-8D74-55BB30AE5E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95792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797BFC-FB04-B447-9479-2551A0EBFAA4}" type="datetimeFigureOut">
              <a:rPr lang="en-US" smtClean="0"/>
              <a:pPr/>
              <a:t>8/27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F47F32-FAB0-9742-A54D-F150A9E134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44421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47F32-FAB0-9742-A54D-F150A9E134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8791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47F32-FAB0-9742-A54D-F150A9E134B4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14912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47F32-FAB0-9742-A54D-F150A9E134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1688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47F32-FAB0-9742-A54D-F150A9E134B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094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47F32-FAB0-9742-A54D-F150A9E134B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6883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47F32-FAB0-9742-A54D-F150A9E134B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1051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47F32-FAB0-9742-A54D-F150A9E134B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081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emf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8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2.emf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1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780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3E12B7E-F30B-B646-BB79-86E4BD32B268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/>
          </a:p>
        </p:txBody>
      </p:sp>
      <p:sp>
        <p:nvSpPr>
          <p:cNvPr id="5" name="Title 11">
            <a:extLst>
              <a:ext uri="{FF2B5EF4-FFF2-40B4-BE49-F238E27FC236}">
                <a16:creationId xmlns:a16="http://schemas.microsoft.com/office/drawing/2014/main" id="{1FC77AB0-3DA1-8A4F-BC51-290823799B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3931" y="2773057"/>
            <a:ext cx="8408378" cy="679847"/>
          </a:xfrm>
        </p:spPr>
        <p:txBody>
          <a:bodyPr anchor="ctr"/>
          <a:lstStyle>
            <a:lvl1pPr algn="ctr">
              <a:defRPr sz="16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699B584-9974-424E-BBCD-BF6C1B552DD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09880" y="1703965"/>
            <a:ext cx="3556480" cy="928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005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D871B0AE-A554-6D40-9FE7-B1EDB820B3A8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059562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1">
            <a:extLst>
              <a:ext uri="{FF2B5EF4-FFF2-40B4-BE49-F238E27FC236}">
                <a16:creationId xmlns:a16="http://schemas.microsoft.com/office/drawing/2014/main" id="{01C75FD1-2340-2549-8A8E-F3207AAE82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0481" y="476977"/>
            <a:ext cx="8540263" cy="679847"/>
          </a:xfrm>
        </p:spPr>
        <p:txBody>
          <a:bodyPr anchor="ctr"/>
          <a:lstStyle>
            <a:lvl1pPr algn="l">
              <a:defRPr sz="17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4E492681-873C-364A-AC29-36F8AD2BA8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00481" y="1442696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4EBB6BD0-D334-C04A-BA62-911EEEEBBE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00481" y="1741940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9E94D055-EEEE-5A49-8DBD-69A529415E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400481" y="2041184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D2986E7F-51EE-DE4E-B0ED-D1038B06D0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00481" y="3697978"/>
            <a:ext cx="2558562" cy="307181"/>
          </a:xfrm>
        </p:spPr>
        <p:txBody>
          <a:bodyPr anchor="ctr"/>
          <a:lstStyle>
            <a:lvl1pPr marL="0" indent="0" algn="l">
              <a:buNone/>
              <a:defRPr sz="100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5BF2806B-DAB2-0648-959A-8A26C1A5D7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49970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1D7CD71-6EAA-4E4E-9E22-B6CFB2B4B3F4}" type="slidenum">
              <a:rPr lang="en-US" sz="500" b="0" i="0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algn="r"/>
              <a:t>‹#›</a:t>
            </a:fld>
            <a:endParaRPr lang="en-US" sz="500" b="0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3892BC7-2672-B24A-A7A2-486E44A127C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6757059" y="1945588"/>
            <a:ext cx="1571104" cy="271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990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CCD7959A-045E-9A44-97AD-276DDBE7D451}"/>
              </a:ext>
            </a:extLst>
          </p:cNvPr>
          <p:cNvSpPr/>
          <p:nvPr userDrawn="1"/>
        </p:nvSpPr>
        <p:spPr bwMode="gray">
          <a:xfrm>
            <a:off x="0" y="0"/>
            <a:ext cx="356571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3426094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1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 bwMode="gray">
          <a:xfrm>
            <a:off x="383930" y="671074"/>
            <a:ext cx="2558562" cy="1070873"/>
          </a:xfrm>
        </p:spPr>
        <p:txBody>
          <a:bodyPr anchor="t"/>
          <a:lstStyle>
            <a:lvl1pPr algn="l">
              <a:defRPr sz="17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21D6E61E-7F30-A445-A488-24E3A20BD9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62891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500" b="0" i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F34AD593-E4DB-F348-9606-B76616E5A5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371721" y="562131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EF8ACA96-8E3B-0640-BE19-41A16354275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371721" y="861375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13797325-0E5D-FA43-AAD1-8FBF8234AE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4371721" y="1160618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5F003F7F-17C4-2D4C-A45F-639BBEEFE9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371721" y="3697977"/>
            <a:ext cx="3565710" cy="1113866"/>
          </a:xfrm>
        </p:spPr>
        <p:txBody>
          <a:bodyPr anchor="t"/>
          <a:lstStyle>
            <a:lvl1pPr marL="0" indent="0" algn="l">
              <a:buNone/>
              <a:defRPr sz="100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E5F89E6-E14E-6549-9ED2-F244745ACD7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400482" y="2327641"/>
            <a:ext cx="1299366" cy="2244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340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  <p15:guide id="2" orient="horz" pos="3090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1366">
          <p15:clr>
            <a:srgbClr val="FBAE40"/>
          </p15:clr>
        </p15:guide>
        <p15:guide id="5" orient="horz" pos="1842">
          <p15:clr>
            <a:srgbClr val="FBAE40"/>
          </p15:clr>
        </p15:guide>
        <p15:guide id="6" orient="horz" pos="3884">
          <p15:clr>
            <a:srgbClr val="FBAE40"/>
          </p15:clr>
        </p15:guide>
        <p15:guide id="7" pos="5819">
          <p15:clr>
            <a:srgbClr val="FBAE40"/>
          </p15:clr>
        </p15:guide>
        <p15:guide id="8" pos="407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D871B0AE-A554-6D40-9FE7-B1EDB820B3A8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0402775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1">
            <a:extLst>
              <a:ext uri="{FF2B5EF4-FFF2-40B4-BE49-F238E27FC236}">
                <a16:creationId xmlns:a16="http://schemas.microsoft.com/office/drawing/2014/main" id="{01C75FD1-2340-2549-8A8E-F3207AAE82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3931" y="458495"/>
            <a:ext cx="8540263" cy="679847"/>
          </a:xfrm>
        </p:spPr>
        <p:txBody>
          <a:bodyPr anchor="ctr"/>
          <a:lstStyle>
            <a:lvl1pPr algn="l">
              <a:defRPr sz="17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4E492681-873C-364A-AC29-36F8AD2BA8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383931" y="1424215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4EBB6BD0-D334-C04A-BA62-911EEEEBBE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383931" y="1723459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9E94D055-EEEE-5A49-8DBD-69A529415E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383931" y="2022702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D2986E7F-51EE-DE4E-B0ED-D1038B06D0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00481" y="3697978"/>
            <a:ext cx="2558562" cy="307181"/>
          </a:xfrm>
        </p:spPr>
        <p:txBody>
          <a:bodyPr anchor="ctr"/>
          <a:lstStyle>
            <a:lvl1pPr marL="0" indent="0" algn="l">
              <a:buNone/>
              <a:defRPr sz="100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8FF3082-6415-8248-8E2E-31EC9936F81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49970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1D7CD71-6EAA-4E4E-9E22-B6CFB2B4B3F4}" type="slidenum">
              <a:rPr lang="en-US" sz="500" b="0" i="0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algn="r"/>
              <a:t>‹#›</a:t>
            </a:fld>
            <a:endParaRPr lang="en-US" sz="500" b="0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06E239E-AE67-D344-9469-B303DF86DAF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6895015" y="1951717"/>
            <a:ext cx="1421067" cy="2707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8709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CCD7959A-045E-9A44-97AD-276DDBE7D451}"/>
              </a:ext>
            </a:extLst>
          </p:cNvPr>
          <p:cNvSpPr/>
          <p:nvPr userDrawn="1"/>
        </p:nvSpPr>
        <p:spPr bwMode="gray">
          <a:xfrm>
            <a:off x="0" y="0"/>
            <a:ext cx="356571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720739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 bwMode="gray">
          <a:xfrm>
            <a:off x="383930" y="671074"/>
            <a:ext cx="2558562" cy="1070873"/>
          </a:xfrm>
        </p:spPr>
        <p:txBody>
          <a:bodyPr anchor="t"/>
          <a:lstStyle>
            <a:lvl1pPr algn="l">
              <a:defRPr sz="17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21D6E61E-7F30-A445-A488-24E3A20BD9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62891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500" b="0" i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76C3FB2B-912C-DC4B-A9F0-E2E405CFCF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371721" y="562131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9F844EEF-CDEC-114D-9890-CBD0C6C09E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371721" y="861375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74B710DF-336A-2F49-943B-C0DCB02178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4371721" y="1160618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50CED62D-A144-D84E-B16B-85E575A553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371721" y="3697977"/>
            <a:ext cx="3565710" cy="1113866"/>
          </a:xfrm>
        </p:spPr>
        <p:txBody>
          <a:bodyPr anchor="t"/>
          <a:lstStyle>
            <a:lvl1pPr marL="0" indent="0" algn="l">
              <a:buNone/>
              <a:defRPr sz="100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C9984C0-0400-F348-B862-9E310477EB8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400482" y="2386910"/>
            <a:ext cx="1192659" cy="2272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2313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  <p15:guide id="2" orient="horz" pos="3090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1366">
          <p15:clr>
            <a:srgbClr val="FBAE40"/>
          </p15:clr>
        </p15:guide>
        <p15:guide id="5" orient="horz" pos="1842">
          <p15:clr>
            <a:srgbClr val="FBAE40"/>
          </p15:clr>
        </p15:guide>
        <p15:guide id="6" orient="horz" pos="3884">
          <p15:clr>
            <a:srgbClr val="FBAE40"/>
          </p15:clr>
        </p15:guide>
        <p15:guide id="7" pos="5819">
          <p15:clr>
            <a:srgbClr val="FBAE40"/>
          </p15:clr>
        </p15:guide>
        <p15:guide id="8" pos="4073">
          <p15:clr>
            <a:srgbClr val="FBAE40"/>
          </p15:clr>
        </p15:guide>
        <p15:guide id="9" orient="horz" pos="45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D871B0AE-A554-6D40-9FE7-B1EDB820B3A8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880904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7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1">
            <a:extLst>
              <a:ext uri="{FF2B5EF4-FFF2-40B4-BE49-F238E27FC236}">
                <a16:creationId xmlns:a16="http://schemas.microsoft.com/office/drawing/2014/main" id="{01C75FD1-2340-2549-8A8E-F3207AAE82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3931" y="756862"/>
            <a:ext cx="8540263" cy="679847"/>
          </a:xfrm>
        </p:spPr>
        <p:txBody>
          <a:bodyPr anchor="ctr"/>
          <a:lstStyle>
            <a:lvl1pPr algn="l">
              <a:defRPr sz="17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4E492681-873C-364A-AC29-36F8AD2BA8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383931" y="1722581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4EBB6BD0-D334-C04A-BA62-911EEEEBBE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383931" y="2021825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9E94D055-EEEE-5A49-8DBD-69A529415E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383931" y="2321069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D2986E7F-51EE-DE4E-B0ED-D1038B06D0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00481" y="3697978"/>
            <a:ext cx="2558562" cy="307181"/>
          </a:xfrm>
        </p:spPr>
        <p:txBody>
          <a:bodyPr anchor="ctr"/>
          <a:lstStyle>
            <a:lvl1pPr marL="0" indent="0" algn="l">
              <a:buNone/>
              <a:defRPr sz="100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8FF3082-6415-8248-8E2E-31EC9936F81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49970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1D7CD71-6EAA-4E4E-9E22-B6CFB2B4B3F4}" type="slidenum">
              <a:rPr lang="en-US" sz="500" b="0" i="0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algn="r"/>
              <a:t>‹#›</a:t>
            </a:fld>
            <a:endParaRPr lang="en-US" sz="500" b="0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2911A10-1161-B248-BB03-B01E9C7A223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051266" y="1935364"/>
            <a:ext cx="2366210" cy="27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0822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CCD7959A-045E-9A44-97AD-276DDBE7D451}"/>
              </a:ext>
            </a:extLst>
          </p:cNvPr>
          <p:cNvSpPr/>
          <p:nvPr userDrawn="1"/>
        </p:nvSpPr>
        <p:spPr bwMode="gray">
          <a:xfrm>
            <a:off x="0" y="0"/>
            <a:ext cx="356571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499675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7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 bwMode="gray">
          <a:xfrm>
            <a:off x="383930" y="671074"/>
            <a:ext cx="2558562" cy="1070873"/>
          </a:xfrm>
        </p:spPr>
        <p:txBody>
          <a:bodyPr anchor="t"/>
          <a:lstStyle>
            <a:lvl1pPr algn="l">
              <a:defRPr sz="17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21D6E61E-7F30-A445-A488-24E3A20BD9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62891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500" b="0" i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76C3FB2B-912C-DC4B-A9F0-E2E405CFCF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371721" y="562131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9F844EEF-CDEC-114D-9890-CBD0C6C09E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371721" y="861375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74B710DF-336A-2F49-943B-C0DCB02178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4371721" y="1160618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50CED62D-A144-D84E-B16B-85E575A553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371721" y="3697977"/>
            <a:ext cx="3565710" cy="1113866"/>
          </a:xfrm>
        </p:spPr>
        <p:txBody>
          <a:bodyPr anchor="t"/>
          <a:lstStyle>
            <a:lvl1pPr marL="0" indent="0" algn="l">
              <a:buNone/>
              <a:defRPr sz="100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25BD385-D658-3E42-8451-2438396F95B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0480" y="2471057"/>
            <a:ext cx="1900870" cy="2188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9286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  <p15:guide id="2" orient="horz" pos="3090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1366">
          <p15:clr>
            <a:srgbClr val="FBAE40"/>
          </p15:clr>
        </p15:guide>
        <p15:guide id="5" orient="horz" pos="1842">
          <p15:clr>
            <a:srgbClr val="FBAE40"/>
          </p15:clr>
        </p15:guide>
        <p15:guide id="6" orient="horz" pos="3884">
          <p15:clr>
            <a:srgbClr val="FBAE40"/>
          </p15:clr>
        </p15:guide>
        <p15:guide id="7" pos="5819">
          <p15:clr>
            <a:srgbClr val="FBAE40"/>
          </p15:clr>
        </p15:guide>
        <p15:guide id="8" pos="4073">
          <p15:clr>
            <a:srgbClr val="FBAE40"/>
          </p15:clr>
        </p15:guide>
        <p15:guide id="9" orient="horz" pos="45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300720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1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21D6E61E-7F30-A445-A488-24E3A20BD9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62891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500" b="0" i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768FC-A3E9-B44D-9447-A28DCE5698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383931" y="1719075"/>
            <a:ext cx="8399585" cy="3100388"/>
          </a:xfrm>
        </p:spPr>
        <p:txBody>
          <a:bodyPr/>
          <a:lstStyle>
            <a:lvl1pPr>
              <a:buClr>
                <a:srgbClr val="000000"/>
              </a:buClr>
              <a:defRPr sz="140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Clr>
                <a:srgbClr val="000000"/>
              </a:buClr>
              <a:defRPr sz="140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2pPr>
            <a:lvl3pPr>
              <a:buClr>
                <a:srgbClr val="000000"/>
              </a:buClr>
              <a:defRPr sz="140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3pPr>
            <a:lvl4pPr>
              <a:buClr>
                <a:srgbClr val="000000"/>
              </a:buClr>
              <a:defRPr sz="140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4pPr>
            <a:lvl5pPr>
              <a:buClr>
                <a:srgbClr val="000000"/>
              </a:buClr>
              <a:defRPr sz="140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2C27EEC-7748-734F-A045-416C20774D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231440" y="190568"/>
            <a:ext cx="3563815" cy="18466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r">
              <a:buNone/>
              <a:defRPr sz="1200" b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900">
                <a:latin typeface="Rockwell"/>
                <a:cs typeface="Rockwell"/>
              </a:defRPr>
            </a:lvl2pPr>
            <a:lvl3pPr>
              <a:defRPr sz="900">
                <a:latin typeface="Rockwell"/>
                <a:cs typeface="Rockwell"/>
              </a:defRPr>
            </a:lvl3pPr>
            <a:lvl4pPr>
              <a:defRPr sz="900">
                <a:latin typeface="Rockwell"/>
                <a:cs typeface="Rockwell"/>
              </a:defRPr>
            </a:lvl4pPr>
            <a:lvl5pPr>
              <a:defRPr sz="900">
                <a:latin typeface="Rockwell"/>
                <a:cs typeface="Rockwell"/>
              </a:defRPr>
            </a:lvl5pPr>
          </a:lstStyle>
          <a:p>
            <a:pPr lvl="0"/>
            <a:r>
              <a:rPr lang="en-US" dirty="0"/>
              <a:t>Running Head 12-Point Plain, Title Cas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4E7B4292-C1A8-1C44-88EF-413F6674BE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90984" y="563147"/>
            <a:ext cx="6645356" cy="6393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B3C8A9A-66CF-BB48-BE09-9795E3335B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90984" y="1413468"/>
            <a:ext cx="6828764" cy="343688"/>
          </a:xfrm>
        </p:spPr>
        <p:txBody>
          <a:bodyPr/>
          <a:lstStyle>
            <a:lvl1pPr marL="0" indent="0">
              <a:buFontTx/>
              <a:buNone/>
              <a:defRPr sz="2000" b="1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z="1200" dirty="0">
                <a:solidFill>
                  <a:srgbClr val="17171C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83552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  <p15:guide id="2" orient="horz" pos="3090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1366">
          <p15:clr>
            <a:srgbClr val="FBAE40"/>
          </p15:clr>
        </p15:guide>
        <p15:guide id="5" orient="horz" pos="1842">
          <p15:clr>
            <a:srgbClr val="FBAE40"/>
          </p15:clr>
        </p15:guide>
        <p15:guide id="6" orient="horz" pos="3884">
          <p15:clr>
            <a:srgbClr val="FBAE40"/>
          </p15:clr>
        </p15:guide>
        <p15:guide id="7" pos="5819">
          <p15:clr>
            <a:srgbClr val="FBAE40"/>
          </p15:clr>
        </p15:guide>
        <p15:guide id="8" pos="4073">
          <p15:clr>
            <a:srgbClr val="FBAE40"/>
          </p15:clr>
        </p15:guide>
        <p15:guide id="9" orient="horz" pos="45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"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/>
        </p:nvSpPr>
        <p:spPr bwMode="gray">
          <a:xfrm>
            <a:off x="471488" y="4727972"/>
            <a:ext cx="328612" cy="19883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rgbClr val="666666"/>
                </a:solidFill>
                <a:latin typeface="+mn-lt"/>
                <a:ea typeface="+mn-ea"/>
                <a:cs typeface="Lucida Grand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628DAB37-B80A-334A-9728-E452BB11F72E}" type="slidenum">
              <a:rPr lang="en-US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5272950-4C4E-6E4C-BF58-3767DDB951CE}"/>
              </a:ext>
            </a:extLst>
          </p:cNvPr>
          <p:cNvSpPr txBox="1"/>
          <p:nvPr userDrawn="1"/>
        </p:nvSpPr>
        <p:spPr bwMode="gray">
          <a:xfrm>
            <a:off x="4983983" y="-1458686"/>
            <a:ext cx="157437" cy="309519"/>
          </a:xfrm>
          <a:prstGeom prst="rect">
            <a:avLst/>
          </a:prstGeom>
          <a:noFill/>
        </p:spPr>
        <p:txBody>
          <a:bodyPr wrap="none" lIns="77925" tIns="38963" rIns="77925" bIns="38963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75607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C0B69BB-EFAC-8E44-8156-9FB2ED62FEBB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299281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D74937-5777-7948-BC7D-A7C8E322AD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94225" y="991772"/>
            <a:ext cx="8408376" cy="1227534"/>
          </a:xfrm>
        </p:spPr>
        <p:txBody>
          <a:bodyPr/>
          <a:lstStyle>
            <a:lvl1pPr marL="0" indent="0">
              <a:buFontTx/>
              <a:buNone/>
              <a:defRPr sz="3800" b="1" i="0">
                <a:solidFill>
                  <a:srgbClr val="5499C7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3800"/>
            </a:lvl2pPr>
            <a:lvl3pPr>
              <a:defRPr sz="3800"/>
            </a:lvl3pPr>
            <a:lvl4pPr>
              <a:defRPr sz="3800"/>
            </a:lvl4pPr>
            <a:lvl5pPr>
              <a:defRPr sz="3800"/>
            </a:lvl5pPr>
          </a:lstStyle>
          <a:p>
            <a:pPr lvl="0"/>
            <a:r>
              <a:rPr lang="en-US" dirty="0"/>
              <a:t>CLICK HER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B6CCF77A-E471-8443-982C-343CBF23F6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94190" y="2336369"/>
            <a:ext cx="8408376" cy="167365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ighlighted Subsections</a:t>
            </a:r>
          </a:p>
          <a:p>
            <a:pPr lvl="0"/>
            <a:r>
              <a:rPr lang="en-US" dirty="0"/>
              <a:t>Place Divider Subsections as Bulle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EC3291-8116-2843-8C9D-075F11677C0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334000" y="4671283"/>
            <a:ext cx="3468602" cy="3738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69FA34CA-7E80-7E43-900B-D4C2D065610C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854671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4">
            <a:extLst>
              <a:ext uri="{FF2B5EF4-FFF2-40B4-BE49-F238E27FC236}">
                <a16:creationId xmlns:a16="http://schemas.microsoft.com/office/drawing/2014/main" id="{738D81B8-BE9E-764E-9AF8-9E5D47ADE8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94225" y="991772"/>
            <a:ext cx="8408376" cy="1227534"/>
          </a:xfrm>
        </p:spPr>
        <p:txBody>
          <a:bodyPr/>
          <a:lstStyle>
            <a:lvl1pPr marL="0" indent="0">
              <a:buFontTx/>
              <a:buNone/>
              <a:defRPr sz="3800" b="1" i="0">
                <a:solidFill>
                  <a:srgbClr val="9EF5A3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3800"/>
            </a:lvl2pPr>
            <a:lvl3pPr>
              <a:defRPr sz="3800"/>
            </a:lvl3pPr>
            <a:lvl4pPr>
              <a:defRPr sz="3800"/>
            </a:lvl4pPr>
            <a:lvl5pPr>
              <a:defRPr sz="3800"/>
            </a:lvl5pPr>
          </a:lstStyle>
          <a:p>
            <a:pPr lvl="0"/>
            <a:r>
              <a:rPr lang="en-US" dirty="0"/>
              <a:t>CLICK HERE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2D9567D8-417A-D44C-B6D2-247DF69F9A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94190" y="2336369"/>
            <a:ext cx="8408376" cy="167365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ighlighted Subsections</a:t>
            </a:r>
          </a:p>
          <a:p>
            <a:pPr lvl="0"/>
            <a:r>
              <a:rPr lang="en-US" dirty="0"/>
              <a:t>Place Divider Subsections as Bulle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0EE1F75-6908-A542-951F-EABC81C38B8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334000" y="4671283"/>
            <a:ext cx="3468602" cy="37384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CCD7959A-045E-9A44-97AD-276DDBE7D451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478075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 bwMode="gray">
          <a:xfrm>
            <a:off x="400481" y="445929"/>
            <a:ext cx="8540263" cy="679847"/>
          </a:xfrm>
        </p:spPr>
        <p:txBody>
          <a:bodyPr anchor="ctr"/>
          <a:lstStyle>
            <a:lvl1pPr algn="l">
              <a:defRPr sz="17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 bwMode="gray">
          <a:xfrm>
            <a:off x="400481" y="1411649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1"/>
          </p:nvPr>
        </p:nvSpPr>
        <p:spPr bwMode="gray">
          <a:xfrm>
            <a:off x="400481" y="1710893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2"/>
          </p:nvPr>
        </p:nvSpPr>
        <p:spPr bwMode="gray">
          <a:xfrm>
            <a:off x="400481" y="2010136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3"/>
          </p:nvPr>
        </p:nvSpPr>
        <p:spPr bwMode="gray">
          <a:xfrm>
            <a:off x="400481" y="3697978"/>
            <a:ext cx="2558562" cy="307181"/>
          </a:xfrm>
        </p:spPr>
        <p:txBody>
          <a:bodyPr anchor="ctr"/>
          <a:lstStyle>
            <a:lvl1pPr marL="0" indent="0" algn="l">
              <a:buNone/>
              <a:defRPr sz="100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21D6E61E-7F30-A445-A488-24E3A20BD9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62891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500" b="0" i="0" dirty="0">
              <a:solidFill>
                <a:srgbClr val="FFFFFF"/>
              </a:solidFill>
              <a:latin typeface="Montserrat" pitchFamily="2" charset="77"/>
              <a:cs typeface="Lucida Grande"/>
            </a:endParaRPr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851C1F1D-28F3-A54C-A2C5-40022518649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49970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1D7CD71-6EAA-4E4E-9E22-B6CFB2B4B3F4}" type="slidenum">
              <a:rPr lang="en-US" sz="500" b="0" i="0" kern="1200" smtClean="0">
                <a:solidFill>
                  <a:schemeClr val="bg1"/>
                </a:solidFill>
                <a:latin typeface="Montserrat" pitchFamily="2" charset="77"/>
                <a:ea typeface="+mn-ea"/>
                <a:cs typeface="Lucida Grande"/>
              </a:rPr>
              <a:pPr algn="r"/>
              <a:t>‹#›</a:t>
            </a:fld>
            <a:endParaRPr lang="en-US" sz="500" b="0" i="0" dirty="0">
              <a:solidFill>
                <a:schemeClr val="bg1"/>
              </a:solidFill>
              <a:latin typeface="Montserrat" pitchFamily="2" charset="77"/>
              <a:cs typeface="Lucida Grande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932B767-0975-1243-8C4E-5AE05B49CAE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6550983" y="2256817"/>
            <a:ext cx="1986592" cy="238069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9906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7" userDrawn="1">
          <p15:clr>
            <a:srgbClr val="FBAE40"/>
          </p15:clr>
        </p15:guide>
        <p15:guide id="2" orient="horz" pos="3090" userDrawn="1">
          <p15:clr>
            <a:srgbClr val="FBAE40"/>
          </p15:clr>
        </p15:guide>
        <p15:guide id="3" orient="horz" pos="1117" userDrawn="1">
          <p15:clr>
            <a:srgbClr val="FBAE40"/>
          </p15:clr>
        </p15:guide>
        <p15:guide id="4" orient="horz" pos="1366" userDrawn="1">
          <p15:clr>
            <a:srgbClr val="FBAE40"/>
          </p15:clr>
        </p15:guide>
        <p15:guide id="5" orient="horz" pos="1842" userDrawn="1">
          <p15:clr>
            <a:srgbClr val="FBAE40"/>
          </p15:clr>
        </p15:guide>
        <p15:guide id="6" orient="horz" pos="3884" userDrawn="1">
          <p15:clr>
            <a:srgbClr val="FBAE40"/>
          </p15:clr>
        </p15:guide>
        <p15:guide id="7" pos="5819" userDrawn="1">
          <p15:clr>
            <a:srgbClr val="FBAE40"/>
          </p15:clr>
        </p15:guide>
        <p15:guide id="8" pos="407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53DA991-FDB1-B74A-947C-52419E4F57F5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170208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310CC7E5-6AC1-B640-BF83-70E61B2D75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94225" y="991772"/>
            <a:ext cx="8408376" cy="1227534"/>
          </a:xfrm>
        </p:spPr>
        <p:txBody>
          <a:bodyPr/>
          <a:lstStyle>
            <a:lvl1pPr marL="0" indent="0">
              <a:buFontTx/>
              <a:buNone/>
              <a:defRPr sz="3800" b="1" i="0">
                <a:solidFill>
                  <a:srgbClr val="FAF693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3800"/>
            </a:lvl2pPr>
            <a:lvl3pPr>
              <a:defRPr sz="3800"/>
            </a:lvl3pPr>
            <a:lvl4pPr>
              <a:defRPr sz="3800"/>
            </a:lvl4pPr>
            <a:lvl5pPr>
              <a:defRPr sz="3800"/>
            </a:lvl5pPr>
          </a:lstStyle>
          <a:p>
            <a:pPr lvl="0"/>
            <a:r>
              <a:rPr lang="en-US" dirty="0"/>
              <a:t>CLICK HERE</a:t>
            </a:r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9AACB5AF-5D6F-8F41-8F25-8A5094468B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94190" y="2336369"/>
            <a:ext cx="8408376" cy="167365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ighlighted Subsections</a:t>
            </a:r>
          </a:p>
          <a:p>
            <a:pPr lvl="0"/>
            <a:r>
              <a:rPr lang="en-US" dirty="0"/>
              <a:t>Place Divider Subsections as Bulle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84A80CB-F20B-EA4E-B7B8-5782C6F347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334000" y="4671283"/>
            <a:ext cx="3468602" cy="37384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5974222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2A118ED-E5B7-A14B-B089-EF39D50C9257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/>
          </a:p>
        </p:txBody>
      </p:sp>
      <p:sp>
        <p:nvSpPr>
          <p:cNvPr id="23" name="Text Placeholder 24">
            <a:extLst>
              <a:ext uri="{FF2B5EF4-FFF2-40B4-BE49-F238E27FC236}">
                <a16:creationId xmlns:a16="http://schemas.microsoft.com/office/drawing/2014/main" id="{F15837CF-FB94-564D-8DA3-BB8A10AF9F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94225" y="991772"/>
            <a:ext cx="8408376" cy="1227534"/>
          </a:xfrm>
        </p:spPr>
        <p:txBody>
          <a:bodyPr/>
          <a:lstStyle>
            <a:lvl1pPr marL="0" indent="0">
              <a:buFontTx/>
              <a:buNone/>
              <a:defRPr sz="3800" b="1" i="0">
                <a:solidFill>
                  <a:srgbClr val="FBD7CF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3800"/>
            </a:lvl2pPr>
            <a:lvl3pPr>
              <a:defRPr sz="3800"/>
            </a:lvl3pPr>
            <a:lvl4pPr>
              <a:defRPr sz="3800"/>
            </a:lvl4pPr>
            <a:lvl5pPr>
              <a:defRPr sz="3800"/>
            </a:lvl5pPr>
          </a:lstStyle>
          <a:p>
            <a:pPr lvl="0"/>
            <a:r>
              <a:rPr lang="en-US" dirty="0"/>
              <a:t>CLICK HERE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916D68A4-241E-D146-A58E-B2EEC54210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94190" y="2336369"/>
            <a:ext cx="8408376" cy="167365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ighlighted Subsections</a:t>
            </a:r>
          </a:p>
          <a:p>
            <a:pPr lvl="0"/>
            <a:r>
              <a:rPr lang="en-US" dirty="0"/>
              <a:t>Place Divider Subsections as Bulle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CF9F535-388B-4C4C-996E-1CE30697929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334000" y="4671283"/>
            <a:ext cx="3468602" cy="37384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3207371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66165857-5B3F-DF44-A27B-50E73122D018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24">
            <a:extLst>
              <a:ext uri="{FF2B5EF4-FFF2-40B4-BE49-F238E27FC236}">
                <a16:creationId xmlns:a16="http://schemas.microsoft.com/office/drawing/2014/main" id="{0B05B61D-32CE-DF48-82B7-CEDE21617C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94225" y="991772"/>
            <a:ext cx="8408376" cy="1227534"/>
          </a:xfrm>
        </p:spPr>
        <p:txBody>
          <a:bodyPr/>
          <a:lstStyle>
            <a:lvl1pPr marL="0" indent="0">
              <a:buFontTx/>
              <a:buNone/>
              <a:defRPr sz="3800" b="1" i="0">
                <a:solidFill>
                  <a:srgbClr val="CC82FC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3800"/>
            </a:lvl2pPr>
            <a:lvl3pPr>
              <a:defRPr sz="3800"/>
            </a:lvl3pPr>
            <a:lvl4pPr>
              <a:defRPr sz="3800"/>
            </a:lvl4pPr>
            <a:lvl5pPr>
              <a:defRPr sz="3800"/>
            </a:lvl5pPr>
          </a:lstStyle>
          <a:p>
            <a:pPr lvl="0"/>
            <a:r>
              <a:rPr lang="en-US" dirty="0"/>
              <a:t>CLICK HERE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CAF6483C-4897-6446-93E4-67A73D1C6D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94190" y="2336369"/>
            <a:ext cx="8408376" cy="167365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ighlighted Subsections</a:t>
            </a:r>
          </a:p>
          <a:p>
            <a:pPr lvl="0"/>
            <a:r>
              <a:rPr lang="en-US" dirty="0"/>
              <a:t>Place Divider Subsections as Bulle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CE559FB-894D-7640-957D-FE81E61F0EC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334000" y="4671283"/>
            <a:ext cx="3468602" cy="37384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5724412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66165857-5B3F-DF44-A27B-50E73122D018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24">
            <a:extLst>
              <a:ext uri="{FF2B5EF4-FFF2-40B4-BE49-F238E27FC236}">
                <a16:creationId xmlns:a16="http://schemas.microsoft.com/office/drawing/2014/main" id="{EF2A8488-766E-FD4A-A000-2F47EB0E27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94225" y="991772"/>
            <a:ext cx="8408376" cy="1227534"/>
          </a:xfrm>
        </p:spPr>
        <p:txBody>
          <a:bodyPr/>
          <a:lstStyle>
            <a:lvl1pPr marL="0" indent="0">
              <a:buFontTx/>
              <a:buNone/>
              <a:defRPr sz="3800" b="1" i="0">
                <a:solidFill>
                  <a:srgbClr val="82C9F5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3800"/>
            </a:lvl2pPr>
            <a:lvl3pPr>
              <a:defRPr sz="3800"/>
            </a:lvl3pPr>
            <a:lvl4pPr>
              <a:defRPr sz="3800"/>
            </a:lvl4pPr>
            <a:lvl5pPr>
              <a:defRPr sz="3800"/>
            </a:lvl5pPr>
          </a:lstStyle>
          <a:p>
            <a:pPr lvl="0"/>
            <a:r>
              <a:rPr lang="en-US" dirty="0"/>
              <a:t>CLICK HERE</a:t>
            </a:r>
          </a:p>
        </p:txBody>
      </p:sp>
      <p:sp>
        <p:nvSpPr>
          <p:cNvPr id="10" name="Text Placeholder 26">
            <a:extLst>
              <a:ext uri="{FF2B5EF4-FFF2-40B4-BE49-F238E27FC236}">
                <a16:creationId xmlns:a16="http://schemas.microsoft.com/office/drawing/2014/main" id="{D5D6A858-70DE-FA47-B57A-541767797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94190" y="2336369"/>
            <a:ext cx="8408376" cy="167365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ighlighted Subsections</a:t>
            </a:r>
          </a:p>
          <a:p>
            <a:pPr lvl="0"/>
            <a:r>
              <a:rPr lang="en-US" dirty="0"/>
              <a:t>Place Divider Subsections as Bullet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4691E0-16DB-FA41-B76D-3780EBF355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334000" y="4671283"/>
            <a:ext cx="3468602" cy="373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6610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C0FAEFC-7963-0D40-A241-E34C45BCCF7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67812" y="684425"/>
            <a:ext cx="8408377" cy="4155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3778AB"/>
                </a:solidFill>
                <a:latin typeface="+mj-lt"/>
                <a:ea typeface="+mj-ea"/>
                <a:cs typeface="Rockwell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CLICK TO EDIT MASTER TITLE STYL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D06CDCB8-879C-2942-87C2-539B94218E7C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357517" y="1658334"/>
            <a:ext cx="4115045" cy="3395663"/>
          </a:xfrm>
        </p:spPr>
        <p:txBody>
          <a:bodyPr vert="horz" lIns="0" tIns="0" rIns="0" bIns="0" rtlCol="0">
            <a:noAutofit/>
          </a:bodyPr>
          <a:lstStyle>
            <a:lvl1pPr indent="-153396" algn="l" defTabSz="389626" rtl="0" eaLnBrk="1" latinLnBrk="0" hangingPunct="1"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indent="-153396" algn="l" defTabSz="389626" rtl="0" eaLnBrk="1" latinLnBrk="0" hangingPunct="1"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indent="-153396" algn="l" defTabSz="389626" rtl="0" eaLnBrk="1" latinLnBrk="0" hangingPunct="1"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indent="-153396" algn="l" defTabSz="389626" rtl="0" eaLnBrk="1" latinLnBrk="0" hangingPunct="1"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indent="-153396" algn="l" defTabSz="389626" rtl="0" eaLnBrk="1" latinLnBrk="0" hangingPunct="1"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CE336E4D-260A-E344-8CFC-AD3FFE90E707}"/>
              </a:ext>
            </a:extLst>
          </p:cNvPr>
          <p:cNvSpPr>
            <a:spLocks noGrp="1"/>
          </p:cNvSpPr>
          <p:nvPr>
            <p:ph sz="quarter" idx="4"/>
          </p:nvPr>
        </p:nvSpPr>
        <p:spPr bwMode="gray">
          <a:xfrm>
            <a:off x="4650850" y="1658334"/>
            <a:ext cx="4115045" cy="3395663"/>
          </a:xfrm>
        </p:spPr>
        <p:txBody>
          <a:bodyPr vert="horz" lIns="0" tIns="0" rIns="0" bIns="0" rtlCol="0">
            <a:noAutofit/>
          </a:bodyPr>
          <a:lstStyle>
            <a:lvl1pPr indent="-153396" algn="l" defTabSz="389626" rtl="0" eaLnBrk="1" latinLnBrk="0" hangingPunct="1">
              <a:defRPr lang="en-US" sz="1400" kern="1200" baseline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indent="-153396" algn="l" defTabSz="389626" rtl="0" eaLnBrk="1" latinLnBrk="0" hangingPunct="1"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indent="-153396" algn="l" defTabSz="389626" rtl="0" eaLnBrk="1" latinLnBrk="0" hangingPunct="1"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indent="-153396" algn="l" defTabSz="389626" rtl="0" eaLnBrk="1" latinLnBrk="0" hangingPunct="1">
              <a:buClr>
                <a:srgbClr val="000000"/>
              </a:buClr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indent="-153396" algn="l" defTabSz="389626" rtl="0" eaLnBrk="1" latinLnBrk="0" hangingPunct="1"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C0FAEFC-7963-0D40-A241-E34C45BCCF7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67812" y="684425"/>
            <a:ext cx="8408377" cy="4155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3778AB"/>
                </a:solidFill>
                <a:latin typeface="+mj-lt"/>
                <a:ea typeface="+mj-ea"/>
                <a:cs typeface="Rockwell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CLICK TO EDIT MASTER TITLE STYL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D06CDCB8-879C-2942-87C2-539B94218E7C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357517" y="1658334"/>
            <a:ext cx="4115045" cy="3395663"/>
          </a:xfrm>
        </p:spPr>
        <p:txBody>
          <a:bodyPr vert="horz" lIns="0" tIns="0" rIns="0" bIns="0" rtlCol="0">
            <a:noAutofit/>
          </a:bodyPr>
          <a:lstStyle>
            <a:lvl1pPr indent="-153396" algn="l" defTabSz="389626" rtl="0" eaLnBrk="1" latinLnBrk="0" hangingPunct="1">
              <a:buClr>
                <a:srgbClr val="000000"/>
              </a:buClr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indent="-153396" algn="l" defTabSz="389626" rtl="0" eaLnBrk="1" latinLnBrk="0" hangingPunct="1">
              <a:buClr>
                <a:srgbClr val="000000"/>
              </a:buClr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indent="-153396" algn="l" defTabSz="389626" rtl="0" eaLnBrk="1" latinLnBrk="0" hangingPunct="1">
              <a:buClr>
                <a:srgbClr val="000000"/>
              </a:buClr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indent="-153396" algn="l" defTabSz="389626" rtl="0" eaLnBrk="1" latinLnBrk="0" hangingPunct="1">
              <a:buClr>
                <a:srgbClr val="000000"/>
              </a:buClr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indent="-153396" algn="l" defTabSz="389626" rtl="0" eaLnBrk="1" latinLnBrk="0" hangingPunct="1">
              <a:buClr>
                <a:srgbClr val="000000"/>
              </a:buClr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CE336E4D-260A-E344-8CFC-AD3FFE90E707}"/>
              </a:ext>
            </a:extLst>
          </p:cNvPr>
          <p:cNvSpPr>
            <a:spLocks noGrp="1"/>
          </p:cNvSpPr>
          <p:nvPr>
            <p:ph sz="quarter" idx="4"/>
          </p:nvPr>
        </p:nvSpPr>
        <p:spPr bwMode="gray">
          <a:xfrm>
            <a:off x="4650850" y="1658334"/>
            <a:ext cx="4115045" cy="3395663"/>
          </a:xfrm>
        </p:spPr>
        <p:txBody>
          <a:bodyPr vert="horz" lIns="0" tIns="0" rIns="0" bIns="0" rtlCol="0">
            <a:noAutofit/>
          </a:bodyPr>
          <a:lstStyle>
            <a:lvl1pPr indent="-153396" algn="l" defTabSz="389626" rtl="0" eaLnBrk="1" latinLnBrk="0" hangingPunct="1">
              <a:buClr>
                <a:srgbClr val="000000"/>
              </a:buClr>
              <a:defRPr lang="en-US" sz="1400" kern="1200" baseline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indent="-153396" algn="l" defTabSz="389626" rtl="0" eaLnBrk="1" latinLnBrk="0" hangingPunct="1">
              <a:buClr>
                <a:srgbClr val="000000"/>
              </a:buClr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indent="-153396" algn="l" defTabSz="389626" rtl="0" eaLnBrk="1" latinLnBrk="0" hangingPunct="1">
              <a:buClr>
                <a:srgbClr val="000000"/>
              </a:buClr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indent="-153396" algn="l" defTabSz="389626" rtl="0" eaLnBrk="1" latinLnBrk="0" hangingPunct="1">
              <a:buClr>
                <a:srgbClr val="000000"/>
              </a:buClr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indent="-153396" algn="l" defTabSz="389626" rtl="0" eaLnBrk="1" latinLnBrk="0" hangingPunct="1">
              <a:buClr>
                <a:srgbClr val="000000"/>
              </a:buClr>
              <a:defRPr lang="en-US" sz="1400" kern="1200" baseline="0" dirty="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9DC53D5-2629-5142-AD7B-C8E1FF954B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4757" y="1394548"/>
            <a:ext cx="4115045" cy="215444"/>
          </a:xfrm>
        </p:spPr>
        <p:txBody>
          <a:bodyPr wrap="square" anchor="b">
            <a:spAutoFit/>
          </a:bodyPr>
          <a:lstStyle>
            <a:lvl1pPr marL="0" indent="0">
              <a:buClrTx/>
              <a:buNone/>
              <a:defRPr sz="1400" b="1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86E4B4B-A206-644B-97D8-9B529FF84A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 bwMode="gray">
          <a:xfrm>
            <a:off x="4668089" y="1394548"/>
            <a:ext cx="4115045" cy="215444"/>
          </a:xfrm>
        </p:spPr>
        <p:txBody>
          <a:bodyPr wrap="square" anchor="b">
            <a:spAutoFit/>
          </a:bodyPr>
          <a:lstStyle>
            <a:lvl1pPr marL="0" indent="0">
              <a:buClrTx/>
              <a:buNone/>
              <a:defRPr sz="1400" b="1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20278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C62D16F5-ABAB-6349-B714-5DC76B34AE3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67812" y="520429"/>
            <a:ext cx="8408377" cy="4155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3778AB"/>
                </a:solidFill>
                <a:latin typeface="+mj-lt"/>
                <a:ea typeface="+mj-ea"/>
                <a:cs typeface="Rockwell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Calibri"/>
                <a:cs typeface="Calibri"/>
              </a:rPr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44560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9482395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F581B99-95AD-FE47-B6BF-A244C6EA418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47431" y="2009011"/>
            <a:ext cx="6249866" cy="1125141"/>
          </a:xfrm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258976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370448" y="906140"/>
            <a:ext cx="5416034" cy="4135902"/>
          </a:xfrm>
        </p:spPr>
        <p:txBody>
          <a:bodyPr vert="horz" lIns="0" tIns="0" rIns="0" bIns="0" rtlCol="0">
            <a:noAutofit/>
          </a:bodyPr>
          <a:lstStyle>
            <a:lvl1pPr indent="-153396" algn="l" defTabSz="389626" rtl="0" eaLnBrk="1" latinLnBrk="0" hangingPunct="1">
              <a:buClr>
                <a:srgbClr val="000000"/>
              </a:buClr>
              <a:defRPr lang="en-US" sz="1400" kern="1200" baseline="0" smtClean="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1pPr>
            <a:lvl2pPr indent="-153396" algn="l" defTabSz="389626" rtl="0" eaLnBrk="1" latinLnBrk="0" hangingPunct="1">
              <a:buClr>
                <a:srgbClr val="000000"/>
              </a:buClr>
              <a:defRPr lang="en-US" sz="1400" kern="1200" baseline="0" smtClean="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2pPr>
            <a:lvl3pPr indent="-153396" algn="l" defTabSz="389626" rtl="0" eaLnBrk="1" latinLnBrk="0" hangingPunct="1">
              <a:buClr>
                <a:srgbClr val="000000"/>
              </a:buClr>
              <a:defRPr lang="en-US" sz="1400" kern="1200" baseline="0" smtClean="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3pPr>
            <a:lvl4pPr indent="-153396" algn="l" defTabSz="389626" rtl="0" eaLnBrk="1" latinLnBrk="0" hangingPunct="1">
              <a:buClr>
                <a:srgbClr val="000000"/>
              </a:buClr>
              <a:defRPr lang="en-US" sz="1400" kern="1200" baseline="0" smtClean="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4pPr>
            <a:lvl5pPr indent="-153396" algn="l" defTabSz="389626" rtl="0" eaLnBrk="1" latinLnBrk="0" hangingPunct="1">
              <a:buClr>
                <a:srgbClr val="000000"/>
              </a:buClr>
              <a:defRPr lang="en-US" sz="1400" kern="1200" baseline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367811" y="906140"/>
            <a:ext cx="2867636" cy="4135902"/>
          </a:xfrm>
        </p:spPr>
        <p:txBody>
          <a:bodyPr/>
          <a:lstStyle>
            <a:lvl1pPr marL="0" indent="0">
              <a:buNone/>
              <a:defRPr sz="1200">
                <a:solidFill>
                  <a:srgbClr val="000000"/>
                </a:solidFill>
              </a:defRPr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C65AC99-D38A-0E4F-A4EA-570B7522927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67812" y="490612"/>
            <a:ext cx="8408377" cy="4155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3778AB"/>
                </a:solidFill>
                <a:latin typeface="+mj-lt"/>
                <a:ea typeface="+mj-ea"/>
                <a:cs typeface="Rockwell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Calibri"/>
                <a:cs typeface="Calibri"/>
              </a:rPr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CCD7959A-045E-9A44-97AD-276DDBE7D451}"/>
              </a:ext>
            </a:extLst>
          </p:cNvPr>
          <p:cNvSpPr/>
          <p:nvPr userDrawn="1"/>
        </p:nvSpPr>
        <p:spPr bwMode="gray">
          <a:xfrm>
            <a:off x="0" y="0"/>
            <a:ext cx="356571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853859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0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 bwMode="gray">
          <a:xfrm>
            <a:off x="383931" y="671074"/>
            <a:ext cx="2558562" cy="1070873"/>
          </a:xfrm>
        </p:spPr>
        <p:txBody>
          <a:bodyPr anchor="t"/>
          <a:lstStyle>
            <a:lvl1pPr algn="l">
              <a:defRPr sz="1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 bwMode="gray">
          <a:xfrm>
            <a:off x="4371721" y="562131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1"/>
          </p:nvPr>
        </p:nvSpPr>
        <p:spPr bwMode="gray">
          <a:xfrm>
            <a:off x="4371721" y="861375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2"/>
          </p:nvPr>
        </p:nvSpPr>
        <p:spPr bwMode="gray">
          <a:xfrm>
            <a:off x="4371721" y="1160618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3"/>
          </p:nvPr>
        </p:nvSpPr>
        <p:spPr bwMode="gray">
          <a:xfrm>
            <a:off x="4371721" y="3697977"/>
            <a:ext cx="3565710" cy="1113866"/>
          </a:xfrm>
        </p:spPr>
        <p:txBody>
          <a:bodyPr anchor="t"/>
          <a:lstStyle>
            <a:lvl1pPr marL="0" indent="0" algn="l">
              <a:buNone/>
              <a:defRPr sz="100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21D6E61E-7F30-A445-A488-24E3A20BD9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62891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500" b="0" i="0" dirty="0">
              <a:solidFill>
                <a:srgbClr val="FFFFFF"/>
              </a:solidFill>
              <a:latin typeface="Montserrat" pitchFamily="2" charset="77"/>
              <a:cs typeface="Lucida Grande"/>
            </a:endParaRP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56C12A81-1364-5C42-B4B7-079F1011005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49970" y="4947685"/>
            <a:ext cx="2632364" cy="8758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1D7CD71-6EAA-4E4E-9E22-B6CFB2B4B3F4}" type="slidenum">
              <a:rPr lang="en-US" sz="500" b="0" i="0" kern="1200" baseline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algn="r"/>
              <a:t>‹#›</a:t>
            </a:fld>
            <a:endParaRPr lang="en-US" sz="500" b="0" i="0" baseline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932B767-0975-1243-8C4E-5AE05B49CAE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433855" y="2730230"/>
            <a:ext cx="1627768" cy="1950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9477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  <p15:guide id="2" orient="horz" pos="3090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1366">
          <p15:clr>
            <a:srgbClr val="FBAE40"/>
          </p15:clr>
        </p15:guide>
        <p15:guide id="5" orient="horz" pos="1842">
          <p15:clr>
            <a:srgbClr val="FBAE40"/>
          </p15:clr>
        </p15:guide>
        <p15:guide id="6" orient="horz" pos="3884">
          <p15:clr>
            <a:srgbClr val="FBAE40"/>
          </p15:clr>
        </p15:guide>
        <p15:guide id="7" pos="5819">
          <p15:clr>
            <a:srgbClr val="FBAE40"/>
          </p15:clr>
        </p15:guide>
        <p15:guide id="8" pos="407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355683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0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4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6538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00" b="1" i="0" baseline="0" dirty="0"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792288" y="3720298"/>
            <a:ext cx="5486400" cy="425054"/>
          </a:xfrm>
        </p:spPr>
        <p:txBody>
          <a:bodyPr anchor="ctr"/>
          <a:lstStyle>
            <a:lvl1pPr algn="l">
              <a:defRPr sz="1700" b="1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gray"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70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792288" y="4221332"/>
            <a:ext cx="5486400" cy="407818"/>
          </a:xfrm>
        </p:spPr>
        <p:txBody>
          <a:bodyPr/>
          <a:lstStyle>
            <a:lvl1pPr marL="0" indent="0">
              <a:buNone/>
              <a:defRPr sz="120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gray">
          <a:xfrm>
            <a:off x="367811" y="1254624"/>
            <a:ext cx="8398083" cy="3762100"/>
          </a:xfrm>
        </p:spPr>
        <p:txBody>
          <a:bodyPr vert="eaVert"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4C3EDB40-0FDF-334A-9887-71463B50270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67812" y="647153"/>
            <a:ext cx="8408377" cy="4155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3778AB"/>
                </a:solidFill>
                <a:latin typeface="+mj-lt"/>
                <a:ea typeface="+mj-ea"/>
                <a:cs typeface="Rockwell"/>
              </a:defRPr>
            </a:lvl1pPr>
          </a:lstStyle>
          <a:p>
            <a:r>
              <a:rPr lang="en-US" dirty="0">
                <a:solidFill>
                  <a:srgbClr val="16161C"/>
                </a:solidFill>
                <a:latin typeface="Calibri"/>
                <a:cs typeface="Calibri"/>
              </a:rPr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1210227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6538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00" b="1" i="0" baseline="0" dirty="0"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 bwMode="gray">
          <a:xfrm>
            <a:off x="6934200" y="680397"/>
            <a:ext cx="1916723" cy="4212813"/>
          </a:xfrm>
        </p:spPr>
        <p:txBody>
          <a:bodyPr vert="eaVert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gray">
          <a:xfrm>
            <a:off x="383931" y="680398"/>
            <a:ext cx="6352171" cy="4212812"/>
          </a:xfrm>
        </p:spPr>
        <p:txBody>
          <a:bodyPr vert="eaVert"/>
          <a:lstStyle>
            <a:lvl1pPr>
              <a:buClr>
                <a:srgbClr val="000000"/>
              </a:buClr>
              <a:defRPr>
                <a:solidFill>
                  <a:srgbClr val="000000"/>
                </a:solidFill>
              </a:defRPr>
            </a:lvl1pPr>
            <a:lvl2pPr>
              <a:buClr>
                <a:srgbClr val="000000"/>
              </a:buClr>
              <a:defRPr>
                <a:solidFill>
                  <a:srgbClr val="000000"/>
                </a:solidFill>
              </a:defRPr>
            </a:lvl2pPr>
            <a:lvl3pPr>
              <a:buClr>
                <a:srgbClr val="000000"/>
              </a:buClr>
              <a:defRPr>
                <a:solidFill>
                  <a:srgbClr val="000000"/>
                </a:solidFill>
              </a:defRPr>
            </a:lvl3pPr>
            <a:lvl4pPr>
              <a:buClr>
                <a:srgbClr val="000000"/>
              </a:buClr>
              <a:defRPr>
                <a:solidFill>
                  <a:srgbClr val="000000"/>
                </a:solidFill>
              </a:defRPr>
            </a:lvl4pPr>
            <a:lvl5pPr>
              <a:buClr>
                <a:srgbClr val="000000"/>
              </a:buCl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0950009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7925391-57EC-E646-985F-62C3397467AE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FEE9F4-ED63-9249-A01F-6B0B44F18A1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3085583" y="3579425"/>
            <a:ext cx="6154615" cy="162877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EE43483-5950-E948-88FF-2CA6C372F0A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10800000">
            <a:off x="0" y="0"/>
            <a:ext cx="5486400" cy="135255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47431" y="2009011"/>
            <a:ext cx="6249866" cy="1125141"/>
          </a:xfrm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5703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B1B9D576-93A1-E84E-BEF6-A834597B541B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9761385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1">
            <a:extLst>
              <a:ext uri="{FF2B5EF4-FFF2-40B4-BE49-F238E27FC236}">
                <a16:creationId xmlns:a16="http://schemas.microsoft.com/office/drawing/2014/main" id="{727443E2-CB20-F14B-964A-4E3A8F9E4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0481" y="458495"/>
            <a:ext cx="8540263" cy="679847"/>
          </a:xfrm>
        </p:spPr>
        <p:txBody>
          <a:bodyPr anchor="ctr"/>
          <a:lstStyle>
            <a:lvl1pPr algn="l">
              <a:defRPr sz="17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556CEF5-CBDC-A043-B5D5-038C9346B5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00481" y="1424215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978D450C-11E4-454A-BBAF-9E650B3169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00481" y="1723459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035C8EDC-4E97-974C-8415-621EF216E6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400481" y="2022702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378B4BB0-9C5E-B840-9C92-9D827E822B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00481" y="3697978"/>
            <a:ext cx="2558562" cy="307181"/>
          </a:xfrm>
        </p:spPr>
        <p:txBody>
          <a:bodyPr anchor="ctr"/>
          <a:lstStyle>
            <a:lvl1pPr marL="0" indent="0" algn="l">
              <a:buNone/>
              <a:defRPr sz="100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81A9CA82-6870-0142-9BAC-3A173154AB6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49970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1D7CD71-6EAA-4E4E-9E22-B6CFB2B4B3F4}" type="slidenum">
              <a:rPr lang="en-US" sz="500" b="0" i="0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algn="r"/>
              <a:t>‹#›</a:t>
            </a:fld>
            <a:endParaRPr lang="en-US" sz="500" b="0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5CCB4D4-121E-B84F-8B3F-D9FE6C743C3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6392273" y="2015881"/>
            <a:ext cx="2116230" cy="2643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990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CCD7959A-045E-9A44-97AD-276DDBE7D451}"/>
              </a:ext>
            </a:extLst>
          </p:cNvPr>
          <p:cNvSpPr/>
          <p:nvPr userDrawn="1"/>
        </p:nvSpPr>
        <p:spPr bwMode="gray">
          <a:xfrm>
            <a:off x="0" y="0"/>
            <a:ext cx="356571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610974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1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 bwMode="gray">
          <a:xfrm>
            <a:off x="383930" y="671074"/>
            <a:ext cx="2558562" cy="1070873"/>
          </a:xfrm>
        </p:spPr>
        <p:txBody>
          <a:bodyPr anchor="t"/>
          <a:lstStyle>
            <a:lvl1pPr algn="l">
              <a:defRPr sz="17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21D6E61E-7F30-A445-A488-24E3A20BD9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62891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500" b="0" i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9AF1CCB4-7FF8-EF40-8E1A-9B3DF4B393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371721" y="562131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3AEC64DE-B855-B043-B43D-EC60E469B5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371721" y="861375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DFB7175-90E3-AF4D-89A9-C653ABD79D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4371721" y="1160618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7C79DB47-42C3-9A48-AA6C-468A5BBC9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371721" y="3697977"/>
            <a:ext cx="3565710" cy="1113866"/>
          </a:xfrm>
        </p:spPr>
        <p:txBody>
          <a:bodyPr anchor="t"/>
          <a:lstStyle>
            <a:lvl1pPr marL="0" indent="0" algn="l">
              <a:buNone/>
              <a:defRPr sz="100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1F65973-51C4-1241-A826-A97475039DA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0481" y="2558933"/>
            <a:ext cx="1626835" cy="2032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8791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  <p15:guide id="2" orient="horz" pos="3090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1366">
          <p15:clr>
            <a:srgbClr val="FBAE40"/>
          </p15:clr>
        </p15:guide>
        <p15:guide id="5" orient="horz" pos="1842">
          <p15:clr>
            <a:srgbClr val="FBAE40"/>
          </p15:clr>
        </p15:guide>
        <p15:guide id="6" orient="horz" pos="3884">
          <p15:clr>
            <a:srgbClr val="FBAE40"/>
          </p15:clr>
        </p15:guide>
        <p15:guide id="7" pos="5819">
          <p15:clr>
            <a:srgbClr val="FBAE40"/>
          </p15:clr>
        </p15:guide>
        <p15:guide id="8" pos="407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6CFBFD49-8608-BC42-8E9A-839BC66BA0AE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4175232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1">
            <a:extLst>
              <a:ext uri="{FF2B5EF4-FFF2-40B4-BE49-F238E27FC236}">
                <a16:creationId xmlns:a16="http://schemas.microsoft.com/office/drawing/2014/main" id="{990E7AEC-87D5-A445-9D76-FD5C570EAC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3931" y="458495"/>
            <a:ext cx="8540263" cy="679847"/>
          </a:xfrm>
        </p:spPr>
        <p:txBody>
          <a:bodyPr anchor="ctr"/>
          <a:lstStyle>
            <a:lvl1pPr algn="l">
              <a:defRPr sz="17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4783C8A9-D7DA-8E47-84F2-BA88555C94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383931" y="1424215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5B224E61-61B6-3A4C-AAD0-C8AB55086C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383931" y="1723459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0769DAE9-9C63-9940-A189-1C01C1B190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383931" y="2022702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19F2E719-6F3C-3E42-8B5E-4B702D314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00481" y="3697978"/>
            <a:ext cx="2558562" cy="307181"/>
          </a:xfrm>
        </p:spPr>
        <p:txBody>
          <a:bodyPr anchor="ctr"/>
          <a:lstStyle>
            <a:lvl1pPr marL="0" indent="0" algn="l">
              <a:buNone/>
              <a:defRPr sz="100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A81BCCE2-BBE3-8643-8C94-EDC1BD35934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49970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1D7CD71-6EAA-4E4E-9E22-B6CFB2B4B3F4}" type="slidenum">
              <a:rPr lang="en-US" sz="500" b="0" i="0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algn="r"/>
              <a:t>‹#›</a:t>
            </a:fld>
            <a:endParaRPr lang="en-US" sz="500" b="0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1D47F8B-FB2A-9647-93C5-E1974EA5626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6162104" y="2124858"/>
            <a:ext cx="2375370" cy="2355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990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CCD7959A-045E-9A44-97AD-276DDBE7D451}"/>
              </a:ext>
            </a:extLst>
          </p:cNvPr>
          <p:cNvSpPr/>
          <p:nvPr userDrawn="1"/>
        </p:nvSpPr>
        <p:spPr bwMode="gray">
          <a:xfrm>
            <a:off x="0" y="0"/>
            <a:ext cx="356571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8520112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1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 bwMode="gray">
          <a:xfrm>
            <a:off x="383930" y="671074"/>
            <a:ext cx="2558562" cy="1070873"/>
          </a:xfrm>
        </p:spPr>
        <p:txBody>
          <a:bodyPr anchor="t"/>
          <a:lstStyle>
            <a:lvl1pPr algn="l">
              <a:defRPr sz="17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21D6E61E-7F30-A445-A488-24E3A20BD9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62891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500" b="0" i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00D1B08D-D3D6-FF47-8A7E-96087D036A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371721" y="562131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8CE19D36-E818-C748-893F-B365E3F07F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371721" y="861375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7A6BD9AA-A258-B947-B1E3-246D4892F6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4371721" y="1160618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2B69C6BF-2FE5-2746-886E-E49C53616D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371721" y="3697977"/>
            <a:ext cx="3565710" cy="1113866"/>
          </a:xfrm>
        </p:spPr>
        <p:txBody>
          <a:bodyPr anchor="t"/>
          <a:lstStyle>
            <a:lvl1pPr marL="0" indent="0" algn="l">
              <a:buNone/>
              <a:defRPr sz="100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BA224F1-BC48-FD4C-9B33-66D7E91AEA9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400481" y="2845392"/>
            <a:ext cx="1779922" cy="1764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510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  <p15:guide id="2" orient="horz" pos="3090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1366">
          <p15:clr>
            <a:srgbClr val="FBAE40"/>
          </p15:clr>
        </p15:guide>
        <p15:guide id="5" orient="horz" pos="1842">
          <p15:clr>
            <a:srgbClr val="FBAE40"/>
          </p15:clr>
        </p15:guide>
        <p15:guide id="6" orient="horz" pos="3884">
          <p15:clr>
            <a:srgbClr val="FBAE40"/>
          </p15:clr>
        </p15:guide>
        <p15:guide id="7" pos="5819">
          <p15:clr>
            <a:srgbClr val="FBAE40"/>
          </p15:clr>
        </p15:guide>
        <p15:guide id="8" pos="407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DA1300C2-56A1-3144-9558-5EC7FD2718D9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438886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1">
            <a:extLst>
              <a:ext uri="{FF2B5EF4-FFF2-40B4-BE49-F238E27FC236}">
                <a16:creationId xmlns:a16="http://schemas.microsoft.com/office/drawing/2014/main" id="{0D6C8F6D-9719-E245-BC69-BA3376C78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3931" y="476977"/>
            <a:ext cx="8540263" cy="679847"/>
          </a:xfrm>
        </p:spPr>
        <p:txBody>
          <a:bodyPr anchor="ctr"/>
          <a:lstStyle>
            <a:lvl1pPr algn="l">
              <a:defRPr sz="17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54FAAE8-B6CF-324E-9A76-58ECAD0A80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383931" y="1442696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85FB9129-AF52-2742-9DB3-AE36B564FB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383931" y="1741940"/>
            <a:ext cx="7678615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AC739D96-1237-FC48-85E7-CA37E3AD2C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383931" y="2041184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D09E8C6B-2A66-4B42-8789-AAA30FA46F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00481" y="3697978"/>
            <a:ext cx="2558562" cy="307181"/>
          </a:xfrm>
        </p:spPr>
        <p:txBody>
          <a:bodyPr anchor="ctr"/>
          <a:lstStyle>
            <a:lvl1pPr marL="0" indent="0" algn="l">
              <a:buNone/>
              <a:defRPr sz="1000" i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650DB746-17EF-8141-BD41-4D287D8C39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49970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1D7CD71-6EAA-4E4E-9E22-B6CFB2B4B3F4}" type="slidenum">
              <a:rPr lang="en-US" sz="500" b="0" i="0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algn="r"/>
              <a:t>‹#›</a:t>
            </a:fld>
            <a:endParaRPr lang="en-US" sz="500" b="0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5449550-BE43-B845-9546-C0447585662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6628836" y="2050050"/>
            <a:ext cx="1788658" cy="2429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9906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CCD7959A-045E-9A44-97AD-276DDBE7D451}"/>
              </a:ext>
            </a:extLst>
          </p:cNvPr>
          <p:cNvSpPr/>
          <p:nvPr userDrawn="1"/>
        </p:nvSpPr>
        <p:spPr bwMode="gray">
          <a:xfrm>
            <a:off x="0" y="0"/>
            <a:ext cx="3565710" cy="5143500"/>
          </a:xfrm>
          <a:prstGeom prst="rect">
            <a:avLst/>
          </a:prstGeom>
          <a:solidFill>
            <a:srgbClr val="17171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9376227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1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 bwMode="gray">
          <a:xfrm>
            <a:off x="383930" y="671074"/>
            <a:ext cx="2558562" cy="1070873"/>
          </a:xfrm>
        </p:spPr>
        <p:txBody>
          <a:bodyPr anchor="t"/>
          <a:lstStyle>
            <a:lvl1pPr algn="l">
              <a:defRPr sz="17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21D6E61E-7F30-A445-A488-24E3A20BD9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162891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500" b="0" i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986E444C-CE74-AC45-B2CF-5F5D34528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371721" y="562131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894FB180-ECA5-7B44-A6F8-1562C43E48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371721" y="861375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4C57D9B8-7FF7-3D48-A75C-420138ED18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4371721" y="1160618"/>
            <a:ext cx="3165229" cy="217884"/>
          </a:xfrm>
        </p:spPr>
        <p:txBody>
          <a:bodyPr anchor="ctr"/>
          <a:lstStyle>
            <a:lvl1pPr marL="0" indent="0" algn="l">
              <a:buNone/>
              <a:defRPr sz="1200" b="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21A13A42-6D70-F14E-AC10-7D4911090F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371721" y="3697977"/>
            <a:ext cx="3565710" cy="1113866"/>
          </a:xfrm>
        </p:spPr>
        <p:txBody>
          <a:bodyPr anchor="t"/>
          <a:lstStyle>
            <a:lvl1pPr marL="0" indent="0" algn="l">
              <a:buNone/>
              <a:defRPr sz="1000" i="0">
                <a:solidFill>
                  <a:srgbClr val="000000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24FC991-6574-7347-9865-8E886ABF9F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3931" y="185547"/>
            <a:ext cx="881526" cy="2285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21434C8-8350-8348-9CB7-D16199E3CF1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412196" y="2380574"/>
            <a:ext cx="1627156" cy="221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8919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  <p15:guide id="2" orient="horz" pos="3090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1366">
          <p15:clr>
            <a:srgbClr val="FBAE40"/>
          </p15:clr>
        </p15:guide>
        <p15:guide id="5" orient="horz" pos="1842">
          <p15:clr>
            <a:srgbClr val="FBAE40"/>
          </p15:clr>
        </p15:guide>
        <p15:guide id="6" orient="horz" pos="3884">
          <p15:clr>
            <a:srgbClr val="FBAE40"/>
          </p15:clr>
        </p15:guide>
        <p15:guide id="7" pos="5819">
          <p15:clr>
            <a:srgbClr val="FBAE40"/>
          </p15:clr>
        </p15:guide>
        <p15:guide id="8" pos="407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emf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492195700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" name="think-cell Slide" r:id="rId37" imgW="360" imgH="360" progId="TCLayout.ActiveDocument.1">
                  <p:embed/>
                </p:oleObj>
              </mc:Choice>
              <mc:Fallback>
                <p:oleObj name="think-cell Slide" r:id="rId37" imgW="360" imgH="360" progId="TCLayout.ActiveDocument.1">
                  <p:embed/>
                  <p:pic>
                    <p:nvPicPr>
                      <p:cNvPr id="0" name="Picture 4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83931" y="610323"/>
            <a:ext cx="8408377" cy="4155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383931" y="1267786"/>
            <a:ext cx="8408377" cy="3101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6" name="Footer Placeholder 4">
            <a:extLst>
              <a:ext uri="{FF2B5EF4-FFF2-40B4-BE49-F238E27FC236}">
                <a16:creationId xmlns:a16="http://schemas.microsoft.com/office/drawing/2014/main" id="{2CD0F8E6-30FD-734A-B448-C46BF4206360}"/>
              </a:ext>
            </a:extLst>
          </p:cNvPr>
          <p:cNvSpPr txBox="1">
            <a:spLocks/>
          </p:cNvSpPr>
          <p:nvPr/>
        </p:nvSpPr>
        <p:spPr>
          <a:xfrm>
            <a:off x="6149970" y="4947685"/>
            <a:ext cx="2632364" cy="875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1D7CD71-6EAA-4E4E-9E22-B6CFB2B4B3F4}" type="slidenum">
              <a:rPr lang="en-US" sz="500" b="0" i="0" kern="1200" smtClean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rPr>
              <a:pPr algn="r"/>
              <a:t>‹#›</a:t>
            </a:fld>
            <a:endParaRPr lang="en-US" sz="500" b="0" i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29493" y="4943839"/>
            <a:ext cx="815928" cy="769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OMMERCIAL–IN-CONFIDE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4CE6879-7144-DF4C-A1B2-EB27EDBC080F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931" y="185547"/>
            <a:ext cx="882411" cy="23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999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68" r:id="rId2"/>
    <p:sldLayoutId id="2147483783" r:id="rId3"/>
    <p:sldLayoutId id="2147483770" r:id="rId4"/>
    <p:sldLayoutId id="2147483784" r:id="rId5"/>
    <p:sldLayoutId id="2147483771" r:id="rId6"/>
    <p:sldLayoutId id="2147483785" r:id="rId7"/>
    <p:sldLayoutId id="2147483772" r:id="rId8"/>
    <p:sldLayoutId id="2147483786" r:id="rId9"/>
    <p:sldLayoutId id="2147483773" r:id="rId10"/>
    <p:sldLayoutId id="2147483787" r:id="rId11"/>
    <p:sldLayoutId id="2147483779" r:id="rId12"/>
    <p:sldLayoutId id="2147483788" r:id="rId13"/>
    <p:sldLayoutId id="2147483790" r:id="rId14"/>
    <p:sldLayoutId id="2147483791" r:id="rId15"/>
    <p:sldLayoutId id="2147483789" r:id="rId16"/>
    <p:sldLayoutId id="2147483753" r:id="rId17"/>
    <p:sldLayoutId id="2147483756" r:id="rId18"/>
    <p:sldLayoutId id="2147483774" r:id="rId19"/>
    <p:sldLayoutId id="2147483775" r:id="rId20"/>
    <p:sldLayoutId id="2147483776" r:id="rId21"/>
    <p:sldLayoutId id="2147483777" r:id="rId22"/>
    <p:sldLayoutId id="2147483780" r:id="rId23"/>
    <p:sldLayoutId id="2147483757" r:id="rId24"/>
    <p:sldLayoutId id="2147483792" r:id="rId25"/>
    <p:sldLayoutId id="2147483759" r:id="rId26"/>
    <p:sldLayoutId id="2147483781" r:id="rId27"/>
    <p:sldLayoutId id="2147483760" r:id="rId28"/>
    <p:sldLayoutId id="2147483761" r:id="rId29"/>
    <p:sldLayoutId id="2147483762" r:id="rId30"/>
    <p:sldLayoutId id="2147483763" r:id="rId31"/>
    <p:sldLayoutId id="2147483764" r:id="rId32"/>
    <p:sldLayoutId id="2147483782" r:id="rId33"/>
  </p:sldLayoutIdLst>
  <p:hf sldNum="0" hdr="0" dt="0"/>
  <p:txStyles>
    <p:titleStyle>
      <a:lvl1pPr algn="l" defTabSz="389626" rtl="0" eaLnBrk="1" latinLnBrk="0" hangingPunct="1">
        <a:spcBef>
          <a:spcPct val="0"/>
        </a:spcBef>
        <a:buNone/>
        <a:defRPr sz="1700" b="1" kern="1200">
          <a:solidFill>
            <a:srgbClr val="000000"/>
          </a:solidFill>
          <a:latin typeface="Calibri"/>
          <a:ea typeface="+mj-ea"/>
          <a:cs typeface="Calibri"/>
        </a:defRPr>
      </a:lvl1pPr>
    </p:titleStyle>
    <p:bodyStyle>
      <a:lvl1pPr marL="153396" indent="-153396" algn="l" defTabSz="389626" rtl="0" eaLnBrk="1" latinLnBrk="0" hangingPunct="1">
        <a:spcBef>
          <a:spcPts val="511"/>
        </a:spcBef>
        <a:buClr>
          <a:srgbClr val="000000"/>
        </a:buClr>
        <a:buFont typeface="Arial" panose="020B0604020202020204" pitchFamily="34" charset="0"/>
        <a:buChar char="•"/>
        <a:defRPr lang="en-US" sz="1200" b="0" i="0" kern="1200" dirty="0" smtClean="0">
          <a:solidFill>
            <a:srgbClr val="000000"/>
          </a:solidFill>
          <a:latin typeface="Calibri"/>
          <a:ea typeface="+mn-ea"/>
          <a:cs typeface="Calibri"/>
        </a:defRPr>
      </a:lvl1pPr>
      <a:lvl2pPr marL="306792" indent="-153396" algn="l" defTabSz="389626" rtl="0" eaLnBrk="1" latinLnBrk="0" hangingPunct="1">
        <a:spcBef>
          <a:spcPct val="20000"/>
        </a:spcBef>
        <a:buClr>
          <a:srgbClr val="000000"/>
        </a:buClr>
        <a:buFont typeface="Courier New" panose="02070309020205020404" pitchFamily="49" charset="0"/>
        <a:buChar char="o"/>
        <a:defRPr sz="1200" b="0" i="0" kern="1200">
          <a:solidFill>
            <a:srgbClr val="000000"/>
          </a:solidFill>
          <a:latin typeface="Calibri" pitchFamily="34" charset="0"/>
          <a:ea typeface="+mn-ea"/>
          <a:cs typeface="Calibri" pitchFamily="34" charset="0"/>
        </a:defRPr>
      </a:lvl2pPr>
      <a:lvl3pPr marL="460188" indent="-153396" algn="l" defTabSz="389626" rtl="0" eaLnBrk="1" latinLnBrk="0" hangingPunct="1">
        <a:spcBef>
          <a:spcPct val="20000"/>
        </a:spcBef>
        <a:buClr>
          <a:srgbClr val="000000"/>
        </a:buClr>
        <a:buFont typeface="Arial Unicode MS" panose="020B0604020202020204" pitchFamily="34" charset="-128"/>
        <a:buChar char="▸"/>
        <a:defRPr sz="1200" b="0" i="0" kern="1200">
          <a:solidFill>
            <a:srgbClr val="000000"/>
          </a:solidFill>
          <a:latin typeface="Calibri"/>
          <a:ea typeface="+mn-ea"/>
          <a:cs typeface="Calibri"/>
        </a:defRPr>
      </a:lvl3pPr>
      <a:lvl4pPr marL="613584" indent="-153396" algn="l" defTabSz="389626" rtl="0" eaLnBrk="1" latinLnBrk="0" hangingPunct="1">
        <a:spcBef>
          <a:spcPct val="20000"/>
        </a:spcBef>
        <a:buClr>
          <a:srgbClr val="000000"/>
        </a:buClr>
        <a:buSzPct val="80000"/>
        <a:buFont typeface="Arial" panose="020B0604020202020204" pitchFamily="34" charset="0"/>
        <a:buChar char="•"/>
        <a:defRPr sz="1200" b="0" i="0" kern="1200">
          <a:solidFill>
            <a:srgbClr val="000000"/>
          </a:solidFill>
          <a:latin typeface="Calibri"/>
          <a:ea typeface="+mn-ea"/>
          <a:cs typeface="Calibri"/>
        </a:defRPr>
      </a:lvl4pPr>
      <a:lvl5pPr marL="766980" indent="-153396" algn="l" defTabSz="389626" rtl="0" eaLnBrk="1" latinLnBrk="0" hangingPunct="1">
        <a:spcBef>
          <a:spcPct val="20000"/>
        </a:spcBef>
        <a:buClr>
          <a:srgbClr val="000000"/>
        </a:buClr>
        <a:buSzPct val="80000"/>
        <a:buFont typeface="Courier New" panose="02070309020205020404" pitchFamily="49" charset="0"/>
        <a:buChar char="o"/>
        <a:defRPr sz="1200" b="0" i="0" kern="1200">
          <a:solidFill>
            <a:srgbClr val="000000"/>
          </a:solidFill>
          <a:latin typeface="Calibri"/>
          <a:ea typeface="+mn-ea"/>
          <a:cs typeface="Calibri"/>
        </a:defRPr>
      </a:lvl5pPr>
      <a:lvl6pPr marL="2142942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  <p15:guide id="3" pos="262" userDrawn="1">
          <p15:clr>
            <a:srgbClr val="F26B43"/>
          </p15:clr>
        </p15:guide>
        <p15:guide id="4" pos="6000" userDrawn="1">
          <p15:clr>
            <a:srgbClr val="F26B43"/>
          </p15:clr>
        </p15:guide>
        <p15:guide id="5" orient="horz" pos="278" userDrawn="1">
          <p15:clr>
            <a:srgbClr val="F26B43"/>
          </p15:clr>
        </p15:guide>
        <p15:guide id="6" orient="horz" pos="420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0.png"/><Relationship Id="rId18" Type="http://schemas.openxmlformats.org/officeDocument/2006/relationships/image" Target="../media/image34.png"/><Relationship Id="rId26" Type="http://schemas.openxmlformats.org/officeDocument/2006/relationships/image" Target="../media/image42.png"/><Relationship Id="rId3" Type="http://schemas.openxmlformats.org/officeDocument/2006/relationships/hyperlink" Target="http://www.google.co.uk/url?sa=i&amp;rct=j&amp;q=&amp;esrc=s&amp;frm=1&amp;source=images&amp;cd=&amp;cad=rja&amp;docid=6qsATIeIHCFwTM&amp;tbnid=QTPx68eMGaJv9M:&amp;ved=0CAUQjRw&amp;url=http://www.freepik.com/free-icon/amount-of-people_700222.htm&amp;ei=_D0WU_bKO8rRtAa40IDoBA&amp;bvm=bv.62286460,d.bGQ&amp;psig=AFQjCNHFTOhb4j7EBAfWJs5YwnaVOBe0hQ&amp;ust=1394052972636647" TargetMode="External"/><Relationship Id="rId21" Type="http://schemas.openxmlformats.org/officeDocument/2006/relationships/image" Target="../media/image37.jpeg"/><Relationship Id="rId34" Type="http://schemas.openxmlformats.org/officeDocument/2006/relationships/image" Target="../media/image50.jpeg"/><Relationship Id="rId7" Type="http://schemas.openxmlformats.org/officeDocument/2006/relationships/image" Target="../media/image26.jpeg"/><Relationship Id="rId12" Type="http://schemas.openxmlformats.org/officeDocument/2006/relationships/image" Target="../media/image29.jpeg"/><Relationship Id="rId17" Type="http://schemas.openxmlformats.org/officeDocument/2006/relationships/image" Target="../media/image33.jpeg"/><Relationship Id="rId25" Type="http://schemas.openxmlformats.org/officeDocument/2006/relationships/image" Target="../media/image41.png"/><Relationship Id="rId33" Type="http://schemas.openxmlformats.org/officeDocument/2006/relationships/image" Target="../media/image49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2.png"/><Relationship Id="rId20" Type="http://schemas.openxmlformats.org/officeDocument/2006/relationships/image" Target="../media/image36.jpeg"/><Relationship Id="rId29" Type="http://schemas.openxmlformats.org/officeDocument/2006/relationships/image" Target="../media/image45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5.jpeg"/><Relationship Id="rId11" Type="http://schemas.openxmlformats.org/officeDocument/2006/relationships/hyperlink" Target="http://www.google.co.uk/url?sa=i&amp;rct=j&amp;q=&amp;esrc=s&amp;frm=1&amp;source=images&amp;cd=&amp;cad=rja&amp;docid=hgJTlwJgI2L1lM&amp;tbnid=BaSge3bn47ExiM:&amp;ved=0CAUQjRw&amp;url=http://www.cafepress.co.uk/mf/32735894/black-house-icon_golf-shirt&amp;ei=PT4WU4mgOITTtAays4GgDQ&amp;bvm=bv.62286460,d.bGQ&amp;psig=AFQjCNHcplaXpVxitl_-247laEnslXIe1A&amp;ust=1394053022957633" TargetMode="External"/><Relationship Id="rId24" Type="http://schemas.openxmlformats.org/officeDocument/2006/relationships/image" Target="../media/image40.jpeg"/><Relationship Id="rId32" Type="http://schemas.openxmlformats.org/officeDocument/2006/relationships/image" Target="../media/image48.jpeg"/><Relationship Id="rId5" Type="http://schemas.openxmlformats.org/officeDocument/2006/relationships/hyperlink" Target="http://www.google.co.uk/url?sa=i&amp;rct=j&amp;q=&amp;esrc=s&amp;frm=1&amp;source=images&amp;cd=&amp;cad=rja&amp;docid=M8hLSDh6-526ZM&amp;tbnid=m_jeNA4CtK3-YM:&amp;ved=0CAUQjRw&amp;url=http://www.freepik.com/free-icon/at-outline_697561.htm&amp;ei=wD0WU_-hDYHAtQbbp4CYAw&amp;bvm=bv.62286460,d.bGQ&amp;psig=AFQjCNGlFPDuHd93ofr57ERHnKofICIRQw&amp;ust=1394052018155604" TargetMode="External"/><Relationship Id="rId15" Type="http://schemas.openxmlformats.org/officeDocument/2006/relationships/image" Target="../media/image31.jpeg"/><Relationship Id="rId23" Type="http://schemas.openxmlformats.org/officeDocument/2006/relationships/image" Target="../media/image39.jpeg"/><Relationship Id="rId28" Type="http://schemas.openxmlformats.org/officeDocument/2006/relationships/image" Target="../media/image44.png"/><Relationship Id="rId36" Type="http://schemas.openxmlformats.org/officeDocument/2006/relationships/image" Target="../media/image52.png"/><Relationship Id="rId10" Type="http://schemas.openxmlformats.org/officeDocument/2006/relationships/image" Target="../media/image28.png"/><Relationship Id="rId19" Type="http://schemas.openxmlformats.org/officeDocument/2006/relationships/image" Target="../media/image35.jpeg"/><Relationship Id="rId31" Type="http://schemas.openxmlformats.org/officeDocument/2006/relationships/image" Target="../media/image47.jpeg"/><Relationship Id="rId4" Type="http://schemas.openxmlformats.org/officeDocument/2006/relationships/image" Target="../media/image24.jpeg"/><Relationship Id="rId9" Type="http://schemas.openxmlformats.org/officeDocument/2006/relationships/hyperlink" Target="http://www.google.co.uk/url?sa=i&amp;rct=j&amp;q=&amp;esrc=s&amp;frm=1&amp;source=images&amp;cd=&amp;cad=rja&amp;docid=fKIT69XuqzAQlM&amp;tbnid=EW9cAjjkwnu28M:&amp;ved=0CAUQjRw&amp;url=http://www.marktetlow.co.uk/contact/&amp;ei=xjoWU-zqDYjItQb3yYCYCQ&amp;bvm=bv.62286460,d.bGQ&amp;psig=AFQjCNGT2k0RiNAuyAXBXoG3xUlqBn0wXQ&amp;ust=1394052157355087" TargetMode="External"/><Relationship Id="rId14" Type="http://schemas.openxmlformats.org/officeDocument/2006/relationships/hyperlink" Target="http://www.google.co.uk/url?sa=i&amp;rct=j&amp;q=&amp;esrc=s&amp;frm=1&amp;source=images&amp;cd=&amp;cad=rja&amp;docid=uDCes3M9FdhBZM&amp;tbnid=ygL-Zy9GskKoYM:&amp;ved=0CAUQjRw&amp;url=http://www.iconspedia.com/icon/currency-dollar-icon-43411.html&amp;ei=oj4WU4m7K8-Sswb6tYHYBQ&amp;bvm=bv.62286460,d.bGQ&amp;psig=AFQjCNHK8m5ExpNCLAuYqlkfzqkfz3005w&amp;ust=1394053145984646" TargetMode="External"/><Relationship Id="rId22" Type="http://schemas.openxmlformats.org/officeDocument/2006/relationships/image" Target="../media/image38.jpeg"/><Relationship Id="rId27" Type="http://schemas.openxmlformats.org/officeDocument/2006/relationships/image" Target="../media/image43.jpeg"/><Relationship Id="rId30" Type="http://schemas.openxmlformats.org/officeDocument/2006/relationships/image" Target="../media/image46.jpeg"/><Relationship Id="rId35" Type="http://schemas.openxmlformats.org/officeDocument/2006/relationships/image" Target="../media/image51.jpeg"/><Relationship Id="rId8" Type="http://schemas.openxmlformats.org/officeDocument/2006/relationships/image" Target="../media/image2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tiff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545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3E246F-CBEE-2F48-8E53-A2F484194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000" b="1" dirty="0"/>
              <a:t>SUBMARINE CABLES FOR AFRICA</a:t>
            </a:r>
            <a:endParaRPr lang="en-US" sz="20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A7FC89D-44CF-5E49-950D-D009D8BB5A31}"/>
              </a:ext>
            </a:extLst>
          </p:cNvPr>
          <p:cNvSpPr txBox="1"/>
          <p:nvPr/>
        </p:nvSpPr>
        <p:spPr>
          <a:xfrm>
            <a:off x="218661" y="4532244"/>
            <a:ext cx="26380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Byron </a:t>
            </a:r>
            <a:r>
              <a:rPr lang="en-US" sz="1400" dirty="0" err="1">
                <a:solidFill>
                  <a:schemeClr val="bg1"/>
                </a:solidFill>
              </a:rPr>
              <a:t>Clatterbuck</a:t>
            </a:r>
            <a:r>
              <a:rPr lang="en-US" sz="1400" dirty="0">
                <a:solidFill>
                  <a:schemeClr val="bg1"/>
                </a:solidFill>
              </a:rPr>
              <a:t> – SEACOM CEO</a:t>
            </a:r>
          </a:p>
        </p:txBody>
      </p:sp>
    </p:spTree>
    <p:extLst>
      <p:ext uri="{BB962C8B-B14F-4D97-AF65-F5344CB8AC3E}">
        <p14:creationId xmlns:p14="http://schemas.microsoft.com/office/powerpoint/2010/main" val="822962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SEA598_NMglobal_WSppt_1-0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" y="0"/>
            <a:ext cx="914311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C59F1B4-146D-7145-BD95-268029637DB1}"/>
              </a:ext>
            </a:extLst>
          </p:cNvPr>
          <p:cNvSpPr/>
          <p:nvPr/>
        </p:nvSpPr>
        <p:spPr>
          <a:xfrm>
            <a:off x="73725" y="76716"/>
            <a:ext cx="40874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800" b="1" dirty="0">
                <a:solidFill>
                  <a:srgbClr val="FFFFFF"/>
                </a:solidFill>
              </a:rPr>
              <a:t>POTENTIAL NEW AFRICA SUBSEA CABLES</a:t>
            </a:r>
            <a:endParaRPr lang="en-US" sz="1800" b="1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C5C7EE1-A154-104C-8E27-87C397CB47BC}"/>
              </a:ext>
            </a:extLst>
          </p:cNvPr>
          <p:cNvSpPr/>
          <p:nvPr/>
        </p:nvSpPr>
        <p:spPr>
          <a:xfrm>
            <a:off x="73725" y="522764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600" dirty="0">
                <a:solidFill>
                  <a:srgbClr val="FFFFFF"/>
                </a:solidFill>
              </a:rPr>
              <a:t>High Fibre Count</a:t>
            </a:r>
            <a:br>
              <a:rPr lang="en-GB" sz="1600" dirty="0">
                <a:solidFill>
                  <a:srgbClr val="FFFFFF"/>
                </a:solidFill>
              </a:rPr>
            </a:br>
            <a:r>
              <a:rPr lang="en-GB" sz="1600" dirty="0">
                <a:solidFill>
                  <a:srgbClr val="FFFFFF"/>
                </a:solidFill>
              </a:rPr>
              <a:t>Open Access</a:t>
            </a:r>
            <a:br>
              <a:rPr lang="en-GB" sz="1600" dirty="0">
                <a:solidFill>
                  <a:srgbClr val="FFFFFF"/>
                </a:solidFill>
              </a:rPr>
            </a:br>
            <a:r>
              <a:rPr lang="en-GB" sz="1600" dirty="0">
                <a:solidFill>
                  <a:srgbClr val="FFFFFF"/>
                </a:solidFill>
              </a:rPr>
              <a:t>Hybrid Models</a:t>
            </a:r>
            <a:endParaRPr lang="en-US" dirty="0"/>
          </a:p>
        </p:txBody>
      </p:sp>
      <p:sp>
        <p:nvSpPr>
          <p:cNvPr id="6" name="Curved Right Arrow 5">
            <a:extLst>
              <a:ext uri="{FF2B5EF4-FFF2-40B4-BE49-F238E27FC236}">
                <a16:creationId xmlns:a16="http://schemas.microsoft.com/office/drawing/2014/main" id="{0C171CBD-34AA-AB4B-8F16-EE81374F34AE}"/>
              </a:ext>
            </a:extLst>
          </p:cNvPr>
          <p:cNvSpPr/>
          <p:nvPr/>
        </p:nvSpPr>
        <p:spPr>
          <a:xfrm>
            <a:off x="4171281" y="914400"/>
            <a:ext cx="1316182" cy="3809999"/>
          </a:xfrm>
          <a:prstGeom prst="curvedRight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Curved Left Arrow 6">
            <a:extLst>
              <a:ext uri="{FF2B5EF4-FFF2-40B4-BE49-F238E27FC236}">
                <a16:creationId xmlns:a16="http://schemas.microsoft.com/office/drawing/2014/main" id="{CFB79FCB-DBFB-9E4E-AA4A-62FD23918D81}"/>
              </a:ext>
            </a:extLst>
          </p:cNvPr>
          <p:cNvSpPr/>
          <p:nvPr/>
        </p:nvSpPr>
        <p:spPr>
          <a:xfrm>
            <a:off x="6738701" y="914400"/>
            <a:ext cx="1634836" cy="3809999"/>
          </a:xfrm>
          <a:prstGeom prst="curvedLeftArrow">
            <a:avLst/>
          </a:prstGeom>
          <a:solidFill>
            <a:srgbClr val="9EF5A3"/>
          </a:solidFill>
          <a:ln>
            <a:solidFill>
              <a:srgbClr val="9EF5A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Left-Right Arrow 7">
            <a:extLst>
              <a:ext uri="{FF2B5EF4-FFF2-40B4-BE49-F238E27FC236}">
                <a16:creationId xmlns:a16="http://schemas.microsoft.com/office/drawing/2014/main" id="{382B9D2A-226B-9C46-9703-433B5DA37620}"/>
              </a:ext>
            </a:extLst>
          </p:cNvPr>
          <p:cNvSpPr/>
          <p:nvPr/>
        </p:nvSpPr>
        <p:spPr>
          <a:xfrm>
            <a:off x="5394810" y="4561951"/>
            <a:ext cx="1343891" cy="419101"/>
          </a:xfrm>
          <a:prstGeom prst="leftRightArrow">
            <a:avLst/>
          </a:prstGeom>
          <a:solidFill>
            <a:srgbClr val="FAF693"/>
          </a:solidFill>
          <a:ln>
            <a:solidFill>
              <a:srgbClr val="FAF69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urved Left Arrow 8">
            <a:extLst>
              <a:ext uri="{FF2B5EF4-FFF2-40B4-BE49-F238E27FC236}">
                <a16:creationId xmlns:a16="http://schemas.microsoft.com/office/drawing/2014/main" id="{B2C6EEF1-7D4E-0441-8509-CEED54728795}"/>
              </a:ext>
            </a:extLst>
          </p:cNvPr>
          <p:cNvSpPr/>
          <p:nvPr/>
        </p:nvSpPr>
        <p:spPr>
          <a:xfrm flipH="1" flipV="1">
            <a:off x="2961449" y="914400"/>
            <a:ext cx="1440873" cy="3647551"/>
          </a:xfrm>
          <a:prstGeom prst="curvedLeftArrow">
            <a:avLst/>
          </a:prstGeom>
          <a:solidFill>
            <a:srgbClr val="9EF5A3"/>
          </a:solidFill>
          <a:ln>
            <a:solidFill>
              <a:srgbClr val="9EF5A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A9AA428-DC50-8F47-95FE-BDF7823F1981}"/>
              </a:ext>
            </a:extLst>
          </p:cNvPr>
          <p:cNvSpPr txBox="1"/>
          <p:nvPr/>
        </p:nvSpPr>
        <p:spPr>
          <a:xfrm>
            <a:off x="6947246" y="1068192"/>
            <a:ext cx="1496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SIMB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B5705C-1D5E-E74E-8FFF-6B245F8171A5}"/>
              </a:ext>
            </a:extLst>
          </p:cNvPr>
          <p:cNvSpPr txBox="1"/>
          <p:nvPr/>
        </p:nvSpPr>
        <p:spPr>
          <a:xfrm>
            <a:off x="4491390" y="1028280"/>
            <a:ext cx="1496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Equiano</a:t>
            </a:r>
          </a:p>
        </p:txBody>
      </p:sp>
    </p:spTree>
    <p:extLst>
      <p:ext uri="{BB962C8B-B14F-4D97-AF65-F5344CB8AC3E}">
        <p14:creationId xmlns:p14="http://schemas.microsoft.com/office/powerpoint/2010/main" val="32243784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DF9517F-134A-CF45-886A-92813F88C5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984" y="1202472"/>
            <a:ext cx="5850159" cy="3100388"/>
          </a:xfrm>
        </p:spPr>
        <p:txBody>
          <a:bodyPr/>
          <a:lstStyle/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Huge investment in infrastructure is required to develop Africa’s economies and communications infrastructure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Majority of this is required in domestic terrestrial, cross-border, metro access, radio access, data </a:t>
            </a:r>
            <a:r>
              <a:rPr lang="en-GB" sz="1600" dirty="0" err="1">
                <a:cs typeface="Lucida Grande"/>
              </a:rPr>
              <a:t>centers</a:t>
            </a:r>
            <a:r>
              <a:rPr lang="en-GB" sz="1600" dirty="0">
                <a:cs typeface="Lucida Grande"/>
              </a:rPr>
              <a:t>, etc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Subsea infrastructure is a very small part of what is required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More capacity and more diverse routing in subsea infrastructure is needed, and can kick start other investments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“Cross Africa” network rings need to develop (along with highways and railways)</a:t>
            </a:r>
          </a:p>
          <a:p>
            <a:endParaRPr lang="en-US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FDD1CE-F677-FE49-928D-53E45BD1F8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UMMARY</a:t>
            </a:r>
            <a:endParaRPr lang="en-US" dirty="0"/>
          </a:p>
        </p:txBody>
      </p:sp>
      <p:pic>
        <p:nvPicPr>
          <p:cNvPr id="7" name="Picture 6" descr="SEA613_ByronPPT_1-05.png">
            <a:extLst>
              <a:ext uri="{FF2B5EF4-FFF2-40B4-BE49-F238E27FC236}">
                <a16:creationId xmlns:a16="http://schemas.microsoft.com/office/drawing/2014/main" id="{2A135DE3-7F0E-C244-8B57-D441034223F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4512" y="1588281"/>
            <a:ext cx="2902857" cy="148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931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3E246F-CBEE-2F48-8E53-A2F484194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792579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06" y="1018929"/>
            <a:ext cx="9143999" cy="4124571"/>
          </a:xfrm>
          <a:prstGeom prst="rect">
            <a:avLst/>
          </a:prstGeom>
        </p:spPr>
      </p:pic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390984" y="563147"/>
            <a:ext cx="8428460" cy="297631"/>
          </a:xfrm>
        </p:spPr>
        <p:txBody>
          <a:bodyPr/>
          <a:lstStyle/>
          <a:p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SEACOM TRANSFORMED INTERNET CONNECTIVITY </a:t>
            </a:r>
            <a:r>
              <a:rPr lang="en-GB" dirty="0"/>
              <a:t>IN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 AFRICA IN 2009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790040" y="2929393"/>
            <a:ext cx="8531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N-AFRICAN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4309" y="3303582"/>
            <a:ext cx="146706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09: SEACOM at launch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4106" y="3694455"/>
            <a:ext cx="2074333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25"/>
              </a:spcBef>
              <a:buClr>
                <a:srgbClr val="002252"/>
              </a:buClr>
              <a:defRPr/>
            </a:pP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Privately funded by largely African investors with funds raised in 2007</a:t>
            </a:r>
          </a:p>
          <a:p>
            <a:pPr>
              <a:spcBef>
                <a:spcPts val="225"/>
              </a:spcBef>
              <a:buClr>
                <a:srgbClr val="002252"/>
              </a:buClr>
              <a:defRPr/>
            </a:pP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System launched in July 2009</a:t>
            </a:r>
          </a:p>
          <a:p>
            <a:pPr>
              <a:spcBef>
                <a:spcPts val="225"/>
              </a:spcBef>
              <a:buClr>
                <a:srgbClr val="002252"/>
              </a:buClr>
              <a:defRPr/>
            </a:pP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Added 80G of capacity to data-starved markets </a:t>
            </a:r>
          </a:p>
          <a:p>
            <a:pPr>
              <a:spcBef>
                <a:spcPts val="225"/>
              </a:spcBef>
              <a:buClr>
                <a:srgbClr val="002252"/>
              </a:buClr>
              <a:defRPr/>
            </a:pP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Allowed “open access” to all ISPs, MNO, and regional </a:t>
            </a:r>
            <a:r>
              <a:rPr lang="en-GB" sz="900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lcos</a:t>
            </a:r>
            <a:endParaRPr lang="en-GB" sz="9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294668" y="3300750"/>
            <a:ext cx="214797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12 </a:t>
            </a:r>
            <a:r>
              <a:rPr lang="mr-IN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</a:t>
            </a:r>
            <a:r>
              <a:rPr lang="en-GB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‘14: SEACOM Service Provide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2332564" y="3691623"/>
            <a:ext cx="2074333" cy="13029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ed in WACs to create “Ring around Africa”</a:t>
            </a:r>
          </a:p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ew to Africa’s largest meshed IP network </a:t>
            </a:r>
          </a:p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rgest host of OTT &amp; CDN traffic</a:t>
            </a:r>
          </a:p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rgest peering relationships of all African carriers</a:t>
            </a:r>
          </a:p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rier neutral cloud platform</a:t>
            </a:r>
          </a:p>
        </p:txBody>
      </p:sp>
      <p:sp>
        <p:nvSpPr>
          <p:cNvPr id="45" name="Rectangle 44"/>
          <p:cNvSpPr/>
          <p:nvPr/>
        </p:nvSpPr>
        <p:spPr>
          <a:xfrm>
            <a:off x="4583490" y="3300750"/>
            <a:ext cx="172354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14 </a:t>
            </a:r>
            <a:r>
              <a:rPr lang="mr-IN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</a:t>
            </a:r>
            <a:r>
              <a:rPr lang="en-GB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‘18: SEACOM Busines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4576231" y="3691623"/>
            <a:ext cx="2074333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unched expansion into the enterprise market in South Africa and then Kenya</a:t>
            </a:r>
          </a:p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ivery of scalable bandwidth low latency internet experience to enterprises</a:t>
            </a:r>
          </a:p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of last mile metro and long-haul terrestrial fibre</a:t>
            </a:r>
          </a:p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quisitions to expedite growth</a:t>
            </a:r>
          </a:p>
        </p:txBody>
      </p:sp>
      <p:sp>
        <p:nvSpPr>
          <p:cNvPr id="48" name="Rectangle 47"/>
          <p:cNvSpPr/>
          <p:nvPr/>
        </p:nvSpPr>
        <p:spPr>
          <a:xfrm>
            <a:off x="6855267" y="3156812"/>
            <a:ext cx="1960793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50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19 &amp; beyond: </a:t>
            </a:r>
            <a:br>
              <a:rPr lang="en-GB" sz="1050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050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ACOM - Market Consolidator </a:t>
            </a:r>
          </a:p>
        </p:txBody>
      </p:sp>
      <p:sp>
        <p:nvSpPr>
          <p:cNvPr id="51" name="Rectangle 50"/>
          <p:cNvSpPr/>
          <p:nvPr/>
        </p:nvSpPr>
        <p:spPr>
          <a:xfrm>
            <a:off x="6908801" y="3688791"/>
            <a:ext cx="2074333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Further investments to drive capacity and network diversity</a:t>
            </a:r>
          </a:p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Targeted acquisitions to expedite growth</a:t>
            </a:r>
          </a:p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Enterprise service expansion in well known markets</a:t>
            </a:r>
          </a:p>
          <a:p>
            <a:pPr marL="135000" indent="-135000">
              <a:spcBef>
                <a:spcPts val="225"/>
              </a:spcBef>
              <a:buClr>
                <a:srgbClr val="002252"/>
              </a:buClr>
              <a:buFont typeface="Arial"/>
              <a:buChar char="•"/>
              <a:defRPr/>
            </a:pP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Invest in further lit fibre deployment to grow scale </a:t>
            </a:r>
          </a:p>
        </p:txBody>
      </p:sp>
    </p:spTree>
    <p:extLst>
      <p:ext uri="{BB962C8B-B14F-4D97-AF65-F5344CB8AC3E}">
        <p14:creationId xmlns:p14="http://schemas.microsoft.com/office/powerpoint/2010/main" val="2209065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FRICAN MARKET TRENDS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90984" y="891837"/>
            <a:ext cx="8365844" cy="1220402"/>
          </a:xfrm>
        </p:spPr>
        <p:txBody>
          <a:bodyPr/>
          <a:lstStyle/>
          <a:p>
            <a:r>
              <a:rPr lang="en-IN" sz="1600" dirty="0"/>
              <a:t>Internet penetration up from 16% in 2013 (167m users) to 35% in 2018 (453m users), largely due to mobile and smartphone penetration growth. Fixed-line penetration remains very low.</a:t>
            </a:r>
          </a:p>
          <a:p>
            <a:endParaRPr lang="en-US" sz="16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D7A47A-EB73-824F-881A-BAB55D75CAD9}"/>
              </a:ext>
            </a:extLst>
          </p:cNvPr>
          <p:cNvSpPr/>
          <p:nvPr/>
        </p:nvSpPr>
        <p:spPr>
          <a:xfrm>
            <a:off x="301870" y="1658824"/>
            <a:ext cx="3403355" cy="3289414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endParaRPr lang="en-GB" sz="1200" b="1" dirty="0">
              <a:solidFill>
                <a:srgbClr val="002252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1966D7-FE45-F142-8607-A2D28DF8C1D0}"/>
              </a:ext>
            </a:extLst>
          </p:cNvPr>
          <p:cNvSpPr/>
          <p:nvPr/>
        </p:nvSpPr>
        <p:spPr>
          <a:xfrm>
            <a:off x="301870" y="1649584"/>
            <a:ext cx="3403355" cy="252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n-GB" sz="1200" b="1" dirty="0">
                <a:solidFill>
                  <a:schemeClr val="bg1"/>
                </a:solidFill>
              </a:rPr>
              <a:t>Key Points</a:t>
            </a:r>
          </a:p>
        </p:txBody>
      </p:sp>
      <p:sp>
        <p:nvSpPr>
          <p:cNvPr id="21" name="Rectangle 21">
            <a:extLst>
              <a:ext uri="{FF2B5EF4-FFF2-40B4-BE49-F238E27FC236}">
                <a16:creationId xmlns:a16="http://schemas.microsoft.com/office/drawing/2014/main" id="{F482D8E2-11C2-E048-A1A0-ED366336D43A}"/>
              </a:ext>
            </a:extLst>
          </p:cNvPr>
          <p:cNvSpPr txBox="1">
            <a:spLocks noChangeArrowheads="1"/>
          </p:cNvSpPr>
          <p:nvPr/>
        </p:nvSpPr>
        <p:spPr>
          <a:xfrm>
            <a:off x="301870" y="1943929"/>
            <a:ext cx="3371843" cy="2708434"/>
          </a:xfrm>
          <a:prstGeom prst="rect">
            <a:avLst/>
          </a:prstGeom>
        </p:spPr>
        <p:txBody>
          <a:bodyPr vert="horz" wrap="square" lIns="72000" tIns="0" rIns="0" bIns="0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rgbClr val="000000"/>
              </a:buClr>
              <a:buFont typeface="Arial"/>
              <a:buChar char="•"/>
              <a:defRPr/>
            </a:pPr>
            <a:r>
              <a:rPr lang="en-GB" sz="1200" dirty="0">
                <a:cs typeface="Lucida Grande"/>
              </a:rPr>
              <a:t>The African fibre and enterprise ICT market  developing like global markets </a:t>
            </a:r>
          </a:p>
          <a:p>
            <a:pPr marL="180000" indent="-180000">
              <a:spcBef>
                <a:spcPts val="600"/>
              </a:spcBef>
              <a:buClr>
                <a:srgbClr val="000000"/>
              </a:buClr>
              <a:buFont typeface="Arial"/>
              <a:buChar char="•"/>
              <a:defRPr/>
            </a:pPr>
            <a:r>
              <a:rPr lang="en-GB" sz="1200" dirty="0">
                <a:cs typeface="Lucida Grande"/>
              </a:rPr>
              <a:t>CDNs and global content owners/operators are moving content and infrastructure to Africa</a:t>
            </a:r>
          </a:p>
          <a:p>
            <a:pPr marL="180000" indent="-180000">
              <a:spcBef>
                <a:spcPts val="600"/>
              </a:spcBef>
              <a:buClr>
                <a:srgbClr val="000000"/>
              </a:buClr>
              <a:buFont typeface="Arial"/>
              <a:buChar char="•"/>
              <a:defRPr/>
            </a:pPr>
            <a:r>
              <a:rPr lang="en-GB" sz="1200" dirty="0">
                <a:cs typeface="Lucida Grande"/>
              </a:rPr>
              <a:t>Smartphone usage grows rapidly, bottlenecks continue to fixed fibre services into the wider market</a:t>
            </a:r>
          </a:p>
          <a:p>
            <a:pPr marL="180000" indent="-180000">
              <a:spcBef>
                <a:spcPts val="600"/>
              </a:spcBef>
              <a:buClr>
                <a:srgbClr val="000000"/>
              </a:buClr>
              <a:buFont typeface="Arial"/>
              <a:buChar char="•"/>
              <a:defRPr/>
            </a:pPr>
            <a:r>
              <a:rPr lang="en-GB" sz="1200" dirty="0">
                <a:cs typeface="Lucida Grande"/>
              </a:rPr>
              <a:t>More core infrastructure is rolled out, regional connectivity is developed, African market usage accelerates</a:t>
            </a:r>
          </a:p>
          <a:p>
            <a:pPr marL="180000" indent="-180000">
              <a:spcBef>
                <a:spcPts val="600"/>
              </a:spcBef>
              <a:buClr>
                <a:srgbClr val="000000"/>
              </a:buClr>
              <a:buFont typeface="Arial"/>
              <a:buChar char="•"/>
              <a:defRPr/>
            </a:pPr>
            <a:r>
              <a:rPr lang="en-GB" sz="1200" dirty="0">
                <a:cs typeface="Lucida Grande"/>
              </a:rPr>
              <a:t>Requirements for diverse and affordable international connectivity increases as Africa is integrated with the digital world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DADB7D6-F034-1642-AB5F-C4342587FE7F}"/>
              </a:ext>
            </a:extLst>
          </p:cNvPr>
          <p:cNvSpPr/>
          <p:nvPr/>
        </p:nvSpPr>
        <p:spPr>
          <a:xfrm>
            <a:off x="3786439" y="1649583"/>
            <a:ext cx="2491544" cy="165485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endParaRPr lang="en-GB" sz="1200" b="1" dirty="0">
              <a:solidFill>
                <a:srgbClr val="00225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2FB16DD-2D91-AD40-A88B-B8C58D62862F}"/>
              </a:ext>
            </a:extLst>
          </p:cNvPr>
          <p:cNvSpPr>
            <a:spLocks/>
          </p:cNvSpPr>
          <p:nvPr/>
        </p:nvSpPr>
        <p:spPr>
          <a:xfrm>
            <a:off x="3786439" y="1649584"/>
            <a:ext cx="2491544" cy="252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n-GB" sz="1200" b="1" dirty="0">
                <a:solidFill>
                  <a:schemeClr val="bg1"/>
                </a:solidFill>
              </a:rPr>
              <a:t>Africa in 2018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8ADA5E4-3DFE-6245-A7E1-5A3950660E5D}"/>
              </a:ext>
            </a:extLst>
          </p:cNvPr>
          <p:cNvSpPr/>
          <p:nvPr/>
        </p:nvSpPr>
        <p:spPr>
          <a:xfrm>
            <a:off x="6359197" y="1649584"/>
            <a:ext cx="2491544" cy="16541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endParaRPr lang="en-GB" sz="1200" b="1" dirty="0">
              <a:solidFill>
                <a:srgbClr val="00225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21A0823-2B6B-F848-BCB5-FC7F12078BDF}"/>
              </a:ext>
            </a:extLst>
          </p:cNvPr>
          <p:cNvSpPr>
            <a:spLocks/>
          </p:cNvSpPr>
          <p:nvPr/>
        </p:nvSpPr>
        <p:spPr>
          <a:xfrm>
            <a:off x="6359197" y="1649584"/>
            <a:ext cx="2491544" cy="252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r>
              <a:rPr lang="en-GB" sz="1200" b="1" dirty="0">
                <a:solidFill>
                  <a:schemeClr val="bg1"/>
                </a:solidFill>
              </a:rPr>
              <a:t>Africa in 2025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B6E21EF-AFB7-3647-8765-F7D40B8617DB}"/>
              </a:ext>
            </a:extLst>
          </p:cNvPr>
          <p:cNvSpPr/>
          <p:nvPr/>
        </p:nvSpPr>
        <p:spPr>
          <a:xfrm>
            <a:off x="3786439" y="3391862"/>
            <a:ext cx="5065200" cy="155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endParaRPr lang="en-GB" sz="1200" b="1" dirty="0">
              <a:solidFill>
                <a:srgbClr val="002252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E2D79CB-E403-E748-9CD8-87B11A4597E1}"/>
              </a:ext>
            </a:extLst>
          </p:cNvPr>
          <p:cNvSpPr/>
          <p:nvPr/>
        </p:nvSpPr>
        <p:spPr>
          <a:xfrm>
            <a:off x="3786439" y="3391863"/>
            <a:ext cx="5065200" cy="360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>
              <a:lnSpc>
                <a:spcPts val="1200"/>
              </a:lnSpc>
            </a:pPr>
            <a:r>
              <a:rPr lang="en-GB" sz="1200" b="1" dirty="0">
                <a:solidFill>
                  <a:schemeClr val="bg1"/>
                </a:solidFill>
              </a:rPr>
              <a:t>Increased staff consumption as well as adoption of Enterprise Services drives an increase in capacity to offices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7A43832F-EB65-1140-8F5D-8EB2BE4CB46A}"/>
              </a:ext>
            </a:extLst>
          </p:cNvPr>
          <p:cNvSpPr/>
          <p:nvPr/>
        </p:nvSpPr>
        <p:spPr>
          <a:xfrm>
            <a:off x="5122998" y="2023698"/>
            <a:ext cx="3473155" cy="1089500"/>
          </a:xfrm>
          <a:custGeom>
            <a:avLst/>
            <a:gdLst>
              <a:gd name="connsiteX0" fmla="*/ 4511040 w 4533900"/>
              <a:gd name="connsiteY0" fmla="*/ 0 h 1722120"/>
              <a:gd name="connsiteX1" fmla="*/ 4511040 w 4533900"/>
              <a:gd name="connsiteY1" fmla="*/ 1722120 h 1722120"/>
              <a:gd name="connsiteX2" fmla="*/ 1569720 w 4533900"/>
              <a:gd name="connsiteY2" fmla="*/ 1722120 h 1722120"/>
              <a:gd name="connsiteX3" fmla="*/ 0 w 4533900"/>
              <a:gd name="connsiteY3" fmla="*/ 1379220 h 1722120"/>
              <a:gd name="connsiteX4" fmla="*/ 0 w 4533900"/>
              <a:gd name="connsiteY4" fmla="*/ 762000 h 1722120"/>
              <a:gd name="connsiteX5" fmla="*/ 1760220 w 4533900"/>
              <a:gd name="connsiteY5" fmla="*/ 7620 h 1722120"/>
              <a:gd name="connsiteX6" fmla="*/ 4533900 w 4533900"/>
              <a:gd name="connsiteY6" fmla="*/ 7620 h 1722120"/>
              <a:gd name="connsiteX0" fmla="*/ 4511040 w 4533900"/>
              <a:gd name="connsiteY0" fmla="*/ 0 h 1722120"/>
              <a:gd name="connsiteX1" fmla="*/ 4511040 w 4533900"/>
              <a:gd name="connsiteY1" fmla="*/ 1722120 h 1722120"/>
              <a:gd name="connsiteX2" fmla="*/ 1569720 w 4533900"/>
              <a:gd name="connsiteY2" fmla="*/ 1722120 h 1722120"/>
              <a:gd name="connsiteX3" fmla="*/ 0 w 4533900"/>
              <a:gd name="connsiteY3" fmla="*/ 1379220 h 1722120"/>
              <a:gd name="connsiteX4" fmla="*/ 56525 w 4533900"/>
              <a:gd name="connsiteY4" fmla="*/ 505658 h 1722120"/>
              <a:gd name="connsiteX5" fmla="*/ 1760220 w 4533900"/>
              <a:gd name="connsiteY5" fmla="*/ 7620 h 1722120"/>
              <a:gd name="connsiteX6" fmla="*/ 4533900 w 4533900"/>
              <a:gd name="connsiteY6" fmla="*/ 7620 h 1722120"/>
              <a:gd name="connsiteX0" fmla="*/ 4454515 w 4477375"/>
              <a:gd name="connsiteY0" fmla="*/ 0 h 1722120"/>
              <a:gd name="connsiteX1" fmla="*/ 4454515 w 4477375"/>
              <a:gd name="connsiteY1" fmla="*/ 1722120 h 1722120"/>
              <a:gd name="connsiteX2" fmla="*/ 1513195 w 4477375"/>
              <a:gd name="connsiteY2" fmla="*/ 1722120 h 1722120"/>
              <a:gd name="connsiteX3" fmla="*/ 20431 w 4477375"/>
              <a:gd name="connsiteY3" fmla="*/ 1395831 h 1722120"/>
              <a:gd name="connsiteX4" fmla="*/ 0 w 4477375"/>
              <a:gd name="connsiteY4" fmla="*/ 505658 h 1722120"/>
              <a:gd name="connsiteX5" fmla="*/ 1703695 w 4477375"/>
              <a:gd name="connsiteY5" fmla="*/ 7620 h 1722120"/>
              <a:gd name="connsiteX6" fmla="*/ 4477375 w 4477375"/>
              <a:gd name="connsiteY6" fmla="*/ 7620 h 1722120"/>
              <a:gd name="connsiteX0" fmla="*/ 4457239 w 4480099"/>
              <a:gd name="connsiteY0" fmla="*/ 0 h 1722120"/>
              <a:gd name="connsiteX1" fmla="*/ 4457239 w 4480099"/>
              <a:gd name="connsiteY1" fmla="*/ 1722120 h 1722120"/>
              <a:gd name="connsiteX2" fmla="*/ 1515919 w 4480099"/>
              <a:gd name="connsiteY2" fmla="*/ 1722120 h 1722120"/>
              <a:gd name="connsiteX3" fmla="*/ 0 w 4480099"/>
              <a:gd name="connsiteY3" fmla="*/ 1395831 h 1722120"/>
              <a:gd name="connsiteX4" fmla="*/ 2724 w 4480099"/>
              <a:gd name="connsiteY4" fmla="*/ 505658 h 1722120"/>
              <a:gd name="connsiteX5" fmla="*/ 1706419 w 4480099"/>
              <a:gd name="connsiteY5" fmla="*/ 7620 h 1722120"/>
              <a:gd name="connsiteX6" fmla="*/ 4480099 w 4480099"/>
              <a:gd name="connsiteY6" fmla="*/ 7620 h 1722120"/>
              <a:gd name="connsiteX0" fmla="*/ 4457239 w 4480099"/>
              <a:gd name="connsiteY0" fmla="*/ 0 h 1722120"/>
              <a:gd name="connsiteX1" fmla="*/ 4457239 w 4480099"/>
              <a:gd name="connsiteY1" fmla="*/ 1722120 h 1722120"/>
              <a:gd name="connsiteX2" fmla="*/ 1515919 w 4480099"/>
              <a:gd name="connsiteY2" fmla="*/ 1722120 h 1722120"/>
              <a:gd name="connsiteX3" fmla="*/ 0 w 4480099"/>
              <a:gd name="connsiteY3" fmla="*/ 1395831 h 1722120"/>
              <a:gd name="connsiteX4" fmla="*/ 2724 w 4480099"/>
              <a:gd name="connsiteY4" fmla="*/ 505658 h 1722120"/>
              <a:gd name="connsiteX5" fmla="*/ 1598016 w 4480099"/>
              <a:gd name="connsiteY5" fmla="*/ 6494 h 1722120"/>
              <a:gd name="connsiteX6" fmla="*/ 4480099 w 4480099"/>
              <a:gd name="connsiteY6" fmla="*/ 7620 h 1722120"/>
              <a:gd name="connsiteX0" fmla="*/ 4457239 w 4480099"/>
              <a:gd name="connsiteY0" fmla="*/ 0 h 1722120"/>
              <a:gd name="connsiteX1" fmla="*/ 4457239 w 4480099"/>
              <a:gd name="connsiteY1" fmla="*/ 1722120 h 1722120"/>
              <a:gd name="connsiteX2" fmla="*/ 1598016 w 4480099"/>
              <a:gd name="connsiteY2" fmla="*/ 1722120 h 1722120"/>
              <a:gd name="connsiteX3" fmla="*/ 0 w 4480099"/>
              <a:gd name="connsiteY3" fmla="*/ 1395831 h 1722120"/>
              <a:gd name="connsiteX4" fmla="*/ 2724 w 4480099"/>
              <a:gd name="connsiteY4" fmla="*/ 505658 h 1722120"/>
              <a:gd name="connsiteX5" fmla="*/ 1598016 w 4480099"/>
              <a:gd name="connsiteY5" fmla="*/ 6494 h 1722120"/>
              <a:gd name="connsiteX6" fmla="*/ 4480099 w 4480099"/>
              <a:gd name="connsiteY6" fmla="*/ 7620 h 1722120"/>
              <a:gd name="connsiteX0" fmla="*/ 4454515 w 4477375"/>
              <a:gd name="connsiteY0" fmla="*/ 0 h 1722120"/>
              <a:gd name="connsiteX1" fmla="*/ 4454515 w 4477375"/>
              <a:gd name="connsiteY1" fmla="*/ 1722120 h 1722120"/>
              <a:gd name="connsiteX2" fmla="*/ 1595292 w 4477375"/>
              <a:gd name="connsiteY2" fmla="*/ 1722120 h 1722120"/>
              <a:gd name="connsiteX3" fmla="*/ 0 w 4477375"/>
              <a:gd name="connsiteY3" fmla="*/ 1290668 h 1722120"/>
              <a:gd name="connsiteX4" fmla="*/ 0 w 4477375"/>
              <a:gd name="connsiteY4" fmla="*/ 505658 h 1722120"/>
              <a:gd name="connsiteX5" fmla="*/ 1595292 w 4477375"/>
              <a:gd name="connsiteY5" fmla="*/ 6494 h 1722120"/>
              <a:gd name="connsiteX6" fmla="*/ 4477375 w 4477375"/>
              <a:gd name="connsiteY6" fmla="*/ 7620 h 1722120"/>
              <a:gd name="connsiteX0" fmla="*/ 4454515 w 4477375"/>
              <a:gd name="connsiteY0" fmla="*/ 0 h 1722120"/>
              <a:gd name="connsiteX1" fmla="*/ 4454515 w 4477375"/>
              <a:gd name="connsiteY1" fmla="*/ 1722120 h 1722120"/>
              <a:gd name="connsiteX2" fmla="*/ 1595292 w 4477375"/>
              <a:gd name="connsiteY2" fmla="*/ 1722120 h 1722120"/>
              <a:gd name="connsiteX3" fmla="*/ 0 w 4477375"/>
              <a:gd name="connsiteY3" fmla="*/ 1268740 h 1722120"/>
              <a:gd name="connsiteX4" fmla="*/ 0 w 4477375"/>
              <a:gd name="connsiteY4" fmla="*/ 505658 h 1722120"/>
              <a:gd name="connsiteX5" fmla="*/ 1595292 w 4477375"/>
              <a:gd name="connsiteY5" fmla="*/ 6494 h 1722120"/>
              <a:gd name="connsiteX6" fmla="*/ 4477375 w 4477375"/>
              <a:gd name="connsiteY6" fmla="*/ 7620 h 1722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77375" h="1722120">
                <a:moveTo>
                  <a:pt x="4454515" y="0"/>
                </a:moveTo>
                <a:lnTo>
                  <a:pt x="4454515" y="1722120"/>
                </a:lnTo>
                <a:lnTo>
                  <a:pt x="1595292" y="1722120"/>
                </a:lnTo>
                <a:lnTo>
                  <a:pt x="0" y="1268740"/>
                </a:lnTo>
                <a:lnTo>
                  <a:pt x="0" y="505658"/>
                </a:lnTo>
                <a:lnTo>
                  <a:pt x="1595292" y="6494"/>
                </a:lnTo>
                <a:lnTo>
                  <a:pt x="4477375" y="7620"/>
                </a:lnTo>
              </a:path>
            </a:pathLst>
          </a:custGeom>
          <a:gradFill flip="none" rotWithShape="1">
            <a:gsLst>
              <a:gs pos="0">
                <a:sysClr val="window" lastClr="FFFFFF">
                  <a:alpha val="50000"/>
                </a:sysClr>
              </a:gs>
              <a:gs pos="26000">
                <a:sysClr val="window" lastClr="FFFFFF">
                  <a:alpha val="50000"/>
                </a:sysClr>
              </a:gs>
              <a:gs pos="74000">
                <a:srgbClr val="94B6D2">
                  <a:alpha val="50000"/>
                </a:srgb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34290" tIns="68580" rIns="34290" bIns="68580" rtlCol="0" anchor="t" anchorCtr="0"/>
          <a:lstStyle/>
          <a:p>
            <a:pPr algn="ctr" defTabSz="685800"/>
            <a:endParaRPr lang="en-GB" sz="800" b="1" kern="0" dirty="0">
              <a:solidFill>
                <a:sysClr val="window" lastClr="FFFFFF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8D89DA6-1CEB-2A4D-AAD5-FBE0AB973D71}"/>
              </a:ext>
            </a:extLst>
          </p:cNvPr>
          <p:cNvSpPr txBox="1"/>
          <p:nvPr/>
        </p:nvSpPr>
        <p:spPr>
          <a:xfrm>
            <a:off x="5335892" y="2064024"/>
            <a:ext cx="756000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800" b="1" i="1" dirty="0"/>
              <a:t>453m Internet user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8A6902D-44E7-C744-A765-8BD575FD9EB1}"/>
              </a:ext>
            </a:extLst>
          </p:cNvPr>
          <p:cNvSpPr txBox="1"/>
          <p:nvPr/>
        </p:nvSpPr>
        <p:spPr>
          <a:xfrm>
            <a:off x="3858798" y="2064024"/>
            <a:ext cx="756000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800" b="1" i="1" dirty="0"/>
              <a:t>35% Internet penetra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E6BCA6F-2CB9-084B-9E2B-13A7B1890097}"/>
              </a:ext>
            </a:extLst>
          </p:cNvPr>
          <p:cNvSpPr txBox="1"/>
          <p:nvPr/>
        </p:nvSpPr>
        <p:spPr>
          <a:xfrm>
            <a:off x="6423235" y="2064024"/>
            <a:ext cx="756000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defRPr sz="700" b="1" i="1"/>
            </a:lvl1pPr>
          </a:lstStyle>
          <a:p>
            <a:r>
              <a:rPr lang="en-GB" sz="800" dirty="0"/>
              <a:t>~50% Internet penetration</a:t>
            </a:r>
          </a:p>
        </p:txBody>
      </p:sp>
      <p:pic>
        <p:nvPicPr>
          <p:cNvPr id="32" name="Picture 14" descr="http://static.freepik.com/free-photo/amount-of-people_318-23478.jpg">
            <a:hlinkClick r:id="rId3"/>
            <a:extLst>
              <a:ext uri="{FF2B5EF4-FFF2-40B4-BE49-F238E27FC236}">
                <a16:creationId xmlns:a16="http://schemas.microsoft.com/office/drawing/2014/main" id="{BC42A955-74A0-7D41-BDB3-63383684D6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47438" y="1943928"/>
            <a:ext cx="132909" cy="101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2" descr="http://static.freepik.com/free-photo/at-outline_318-11400.jpg">
            <a:hlinkClick r:id="rId5"/>
            <a:extLst>
              <a:ext uri="{FF2B5EF4-FFF2-40B4-BE49-F238E27FC236}">
                <a16:creationId xmlns:a16="http://schemas.microsoft.com/office/drawing/2014/main" id="{1BE9A369-2F74-0342-A2DE-93AB57C180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82623" y="1944582"/>
            <a:ext cx="108350" cy="100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2" descr="http://static.freepik.com/free-photo/at-outline_318-11400.jpg">
            <a:hlinkClick r:id="rId5"/>
            <a:extLst>
              <a:ext uri="{FF2B5EF4-FFF2-40B4-BE49-F238E27FC236}">
                <a16:creationId xmlns:a16="http://schemas.microsoft.com/office/drawing/2014/main" id="{B9991803-CBCC-214E-A5A3-EB622BD878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9164" y="1946524"/>
            <a:ext cx="104143" cy="96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4" descr="http://static.freepik.com/free-photo/amount-of-people_318-23478.jpg">
            <a:hlinkClick r:id="rId3"/>
            <a:extLst>
              <a:ext uri="{FF2B5EF4-FFF2-40B4-BE49-F238E27FC236}">
                <a16:creationId xmlns:a16="http://schemas.microsoft.com/office/drawing/2014/main" id="{EF161EF6-75FD-1B48-8855-797B09768C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32104" y="1945895"/>
            <a:ext cx="127750" cy="97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A17E3F37-9CA3-8448-ACC0-43B4D8F1F4F6}"/>
              </a:ext>
            </a:extLst>
          </p:cNvPr>
          <p:cNvSpPr txBox="1"/>
          <p:nvPr/>
        </p:nvSpPr>
        <p:spPr>
          <a:xfrm>
            <a:off x="8182070" y="2060003"/>
            <a:ext cx="627819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defRPr sz="700" b="1" i="1"/>
            </a:lvl1pPr>
          </a:lstStyle>
          <a:p>
            <a:r>
              <a:rPr lang="en-GB" sz="800" dirty="0"/>
              <a:t>600m Internet use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C98A3A0-DFEF-1044-BD1C-151DEF7F17D4}"/>
              </a:ext>
            </a:extLst>
          </p:cNvPr>
          <p:cNvSpPr txBox="1"/>
          <p:nvPr/>
        </p:nvSpPr>
        <p:spPr>
          <a:xfrm>
            <a:off x="8182070" y="2499264"/>
            <a:ext cx="627819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defRPr sz="700" b="1" i="1"/>
            </a:lvl1pPr>
          </a:lstStyle>
          <a:p>
            <a:r>
              <a:rPr lang="en-GB" sz="800" dirty="0"/>
              <a:t>600m smartphones</a:t>
            </a:r>
          </a:p>
        </p:txBody>
      </p:sp>
      <p:pic>
        <p:nvPicPr>
          <p:cNvPr id="38" name="Picture 4" descr="http://www.marktetlow.co.uk/wp-content/uploads/2013/03/iconmonstr-mobile-phone-icon.png">
            <a:hlinkClick r:id="rId9"/>
            <a:extLst>
              <a:ext uri="{FF2B5EF4-FFF2-40B4-BE49-F238E27FC236}">
                <a16:creationId xmlns:a16="http://schemas.microsoft.com/office/drawing/2014/main" id="{00886243-C86A-5E41-847A-01D2FAD3ED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50319" y="2329017"/>
            <a:ext cx="127147" cy="117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8" descr="http://i1.cpcache.com/product_zoom/356925661/black_house_icon_golf_shirt.jpg?color=White&amp;height=460&amp;width=460&amp;padToSquare=true">
            <a:hlinkClick r:id="rId11"/>
            <a:extLst>
              <a:ext uri="{FF2B5EF4-FFF2-40B4-BE49-F238E27FC236}">
                <a16:creationId xmlns:a16="http://schemas.microsoft.com/office/drawing/2014/main" id="{E11C51A2-2CA6-0744-8869-ADECA8A5B7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clrChange>
              <a:clrFrom>
                <a:srgbClr val="F3F3F3"/>
              </a:clrFrom>
              <a:clrTo>
                <a:srgbClr val="F3F3F3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81065" y="2336254"/>
            <a:ext cx="111466" cy="102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http://www.marktetlow.co.uk/wp-content/uploads/2013/03/iconmonstr-mobile-phone-icon.png">
            <a:hlinkClick r:id="rId9"/>
            <a:extLst>
              <a:ext uri="{FF2B5EF4-FFF2-40B4-BE49-F238E27FC236}">
                <a16:creationId xmlns:a16="http://schemas.microsoft.com/office/drawing/2014/main" id="{DF12102F-0448-4C46-B096-6EC93BB189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7251" y="2331296"/>
            <a:ext cx="197457" cy="11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1" descr="https://encrypted-tbn2.gstatic.com/images?q=tbn:ANd9GcRr4xADJauLKsRFd-WT2nk2m7yunM_xc5PxhHc2cNEyCysLcB3e">
            <a:hlinkClick r:id="rId14"/>
            <a:extLst>
              <a:ext uri="{FF2B5EF4-FFF2-40B4-BE49-F238E27FC236}">
                <a16:creationId xmlns:a16="http://schemas.microsoft.com/office/drawing/2014/main" id="{D46C9E31-860A-A345-91AA-921EE9FAF9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57822" y="2347626"/>
            <a:ext cx="86827" cy="8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1722FAB1-35C9-7C4C-A32C-3064C4DA97D4}"/>
              </a:ext>
            </a:extLst>
          </p:cNvPr>
          <p:cNvSpPr txBox="1"/>
          <p:nvPr/>
        </p:nvSpPr>
        <p:spPr>
          <a:xfrm>
            <a:off x="5335892" y="2465155"/>
            <a:ext cx="756000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800" b="1" i="1" dirty="0"/>
              <a:t>200m smartphone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DF36600-E6A6-5E4E-AEFF-90E12A712C5E}"/>
              </a:ext>
            </a:extLst>
          </p:cNvPr>
          <p:cNvSpPr txBox="1"/>
          <p:nvPr/>
        </p:nvSpPr>
        <p:spPr>
          <a:xfrm>
            <a:off x="3858797" y="2465155"/>
            <a:ext cx="756000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800" b="1" i="1" dirty="0"/>
              <a:t>&gt;50% urban</a:t>
            </a:r>
            <a:br>
              <a:rPr lang="en-GB" sz="800" b="1" i="1" dirty="0"/>
            </a:br>
            <a:r>
              <a:rPr lang="en-GB" sz="800" b="1" i="1" dirty="0"/>
              <a:t> residents on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C86863E-75F3-FF41-AC64-C167025A77A1}"/>
              </a:ext>
            </a:extLst>
          </p:cNvPr>
          <p:cNvSpPr txBox="1"/>
          <p:nvPr/>
        </p:nvSpPr>
        <p:spPr>
          <a:xfrm>
            <a:off x="6423235" y="2465155"/>
            <a:ext cx="756000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defRPr sz="700" b="1" i="1"/>
            </a:lvl1pPr>
          </a:lstStyle>
          <a:p>
            <a:r>
              <a:rPr lang="en-GB" sz="800" dirty="0"/>
              <a:t>$300bn Internet GDP contributio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475D168-8F9C-A548-B256-12831B04617F}"/>
              </a:ext>
            </a:extLst>
          </p:cNvPr>
          <p:cNvSpPr txBox="1"/>
          <p:nvPr/>
        </p:nvSpPr>
        <p:spPr>
          <a:xfrm>
            <a:off x="5335892" y="2886904"/>
            <a:ext cx="756000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800" b="1" i="1" dirty="0"/>
              <a:t>$18bn Internet GDP contributio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8CCDE47-B584-5A46-9F6B-BA86DE984C03}"/>
              </a:ext>
            </a:extLst>
          </p:cNvPr>
          <p:cNvSpPr txBox="1"/>
          <p:nvPr/>
        </p:nvSpPr>
        <p:spPr>
          <a:xfrm>
            <a:off x="3858798" y="2886904"/>
            <a:ext cx="756000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800" b="1" i="1" dirty="0"/>
              <a:t>177m Facebook us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B510909-2476-7C43-BF3D-25E1BE175D95}"/>
              </a:ext>
            </a:extLst>
          </p:cNvPr>
          <p:cNvSpPr txBox="1"/>
          <p:nvPr/>
        </p:nvSpPr>
        <p:spPr>
          <a:xfrm>
            <a:off x="6423235" y="2886904"/>
            <a:ext cx="756000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defRPr sz="700" b="1" i="1"/>
            </a:lvl1pPr>
          </a:lstStyle>
          <a:p>
            <a:r>
              <a:rPr lang="en-GB" sz="800" dirty="0"/>
              <a:t>$75bn in </a:t>
            </a:r>
            <a:br>
              <a:rPr lang="en-GB" sz="800" dirty="0"/>
            </a:br>
            <a:r>
              <a:rPr lang="en-GB" sz="800" dirty="0"/>
              <a:t>e-commerce sales</a:t>
            </a:r>
          </a:p>
        </p:txBody>
      </p:sp>
      <p:pic>
        <p:nvPicPr>
          <p:cNvPr id="48" name="Picture 19">
            <a:extLst>
              <a:ext uri="{FF2B5EF4-FFF2-40B4-BE49-F238E27FC236}">
                <a16:creationId xmlns:a16="http://schemas.microsoft.com/office/drawing/2014/main" id="{C4FBA706-5FB2-D14A-AF3C-FE071092E4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9164" y="2745941"/>
            <a:ext cx="115268" cy="106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21" descr="https://encrypted-tbn2.gstatic.com/images?q=tbn:ANd9GcRr4xADJauLKsRFd-WT2nk2m7yunM_xc5PxhHc2cNEyCysLcB3e">
            <a:hlinkClick r:id="rId14"/>
            <a:extLst>
              <a:ext uri="{FF2B5EF4-FFF2-40B4-BE49-F238E27FC236}">
                <a16:creationId xmlns:a16="http://schemas.microsoft.com/office/drawing/2014/main" id="{36F3F3C4-660E-6E49-87F5-39DF7D4924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8725" y="2757448"/>
            <a:ext cx="90335" cy="83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2">
            <a:extLst>
              <a:ext uri="{FF2B5EF4-FFF2-40B4-BE49-F238E27FC236}">
                <a16:creationId xmlns:a16="http://schemas.microsoft.com/office/drawing/2014/main" id="{F65AC87F-D46D-A545-A669-E6673AE57D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18BBB6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26493" y="2730148"/>
            <a:ext cx="149484" cy="137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FBFFE571-C057-244C-B79F-D46F63AC1640}"/>
              </a:ext>
            </a:extLst>
          </p:cNvPr>
          <p:cNvGrpSpPr/>
          <p:nvPr/>
        </p:nvGrpSpPr>
        <p:grpSpPr>
          <a:xfrm>
            <a:off x="4682154" y="2301274"/>
            <a:ext cx="559398" cy="576765"/>
            <a:chOff x="4834558" y="2392165"/>
            <a:chExt cx="501335" cy="516899"/>
          </a:xfrm>
        </p:grpSpPr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0661764-63E1-2B49-9291-86FD54775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163" y="2438979"/>
              <a:ext cx="8981" cy="829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6" y="11"/>
                </a:cxn>
                <a:cxn ang="0">
                  <a:pos x="6" y="6"/>
                </a:cxn>
                <a:cxn ang="0">
                  <a:pos x="16" y="2"/>
                </a:cxn>
                <a:cxn ang="0">
                  <a:pos x="9" y="0"/>
                </a:cxn>
                <a:cxn ang="0">
                  <a:pos x="0" y="6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6" y="11"/>
                  </a:lnTo>
                  <a:lnTo>
                    <a:pt x="6" y="6"/>
                  </a:lnTo>
                  <a:lnTo>
                    <a:pt x="16" y="2"/>
                  </a:lnTo>
                  <a:lnTo>
                    <a:pt x="9" y="0"/>
                  </a:lnTo>
                  <a:lnTo>
                    <a:pt x="0" y="6"/>
                  </a:lnTo>
                  <a:lnTo>
                    <a:pt x="0" y="16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Freeform 45">
              <a:extLst>
                <a:ext uri="{FF2B5EF4-FFF2-40B4-BE49-F238E27FC236}">
                  <a16:creationId xmlns:a16="http://schemas.microsoft.com/office/drawing/2014/main" id="{7ACB9898-A681-7B43-BE3B-2AAC2A80C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0959" y="2438003"/>
              <a:ext cx="81355" cy="74609"/>
            </a:xfrm>
            <a:custGeom>
              <a:avLst/>
              <a:gdLst/>
              <a:ahLst/>
              <a:cxnLst>
                <a:cxn ang="0">
                  <a:pos x="131" y="5"/>
                </a:cxn>
                <a:cxn ang="0">
                  <a:pos x="117" y="10"/>
                </a:cxn>
                <a:cxn ang="0">
                  <a:pos x="109" y="10"/>
                </a:cxn>
                <a:cxn ang="0">
                  <a:pos x="104" y="7"/>
                </a:cxn>
                <a:cxn ang="0">
                  <a:pos x="97" y="3"/>
                </a:cxn>
                <a:cxn ang="0">
                  <a:pos x="88" y="2"/>
                </a:cxn>
                <a:cxn ang="0">
                  <a:pos x="83" y="3"/>
                </a:cxn>
                <a:cxn ang="0">
                  <a:pos x="59" y="14"/>
                </a:cxn>
                <a:cxn ang="0">
                  <a:pos x="17" y="2"/>
                </a:cxn>
                <a:cxn ang="0">
                  <a:pos x="6" y="0"/>
                </a:cxn>
                <a:cxn ang="0">
                  <a:pos x="1" y="5"/>
                </a:cxn>
                <a:cxn ang="0">
                  <a:pos x="0" y="26"/>
                </a:cxn>
                <a:cxn ang="0">
                  <a:pos x="3" y="34"/>
                </a:cxn>
                <a:cxn ang="0">
                  <a:pos x="6" y="41"/>
                </a:cxn>
                <a:cxn ang="0">
                  <a:pos x="6" y="68"/>
                </a:cxn>
                <a:cxn ang="0">
                  <a:pos x="6" y="96"/>
                </a:cxn>
                <a:cxn ang="0">
                  <a:pos x="6" y="123"/>
                </a:cxn>
                <a:cxn ang="0">
                  <a:pos x="6" y="148"/>
                </a:cxn>
                <a:cxn ang="0">
                  <a:pos x="27" y="148"/>
                </a:cxn>
                <a:cxn ang="0">
                  <a:pos x="49" y="148"/>
                </a:cxn>
                <a:cxn ang="0">
                  <a:pos x="70" y="148"/>
                </a:cxn>
                <a:cxn ang="0">
                  <a:pos x="92" y="148"/>
                </a:cxn>
                <a:cxn ang="0">
                  <a:pos x="95" y="147"/>
                </a:cxn>
                <a:cxn ang="0">
                  <a:pos x="105" y="148"/>
                </a:cxn>
                <a:cxn ang="0">
                  <a:pos x="124" y="152"/>
                </a:cxn>
                <a:cxn ang="0">
                  <a:pos x="131" y="145"/>
                </a:cxn>
                <a:cxn ang="0">
                  <a:pos x="143" y="136"/>
                </a:cxn>
                <a:cxn ang="0">
                  <a:pos x="151" y="133"/>
                </a:cxn>
                <a:cxn ang="0">
                  <a:pos x="153" y="119"/>
                </a:cxn>
                <a:cxn ang="0">
                  <a:pos x="129" y="82"/>
                </a:cxn>
                <a:cxn ang="0">
                  <a:pos x="122" y="65"/>
                </a:cxn>
                <a:cxn ang="0">
                  <a:pos x="116" y="51"/>
                </a:cxn>
                <a:cxn ang="0">
                  <a:pos x="111" y="38"/>
                </a:cxn>
                <a:cxn ang="0">
                  <a:pos x="109" y="27"/>
                </a:cxn>
                <a:cxn ang="0">
                  <a:pos x="112" y="34"/>
                </a:cxn>
                <a:cxn ang="0">
                  <a:pos x="119" y="49"/>
                </a:cxn>
                <a:cxn ang="0">
                  <a:pos x="134" y="60"/>
                </a:cxn>
                <a:cxn ang="0">
                  <a:pos x="141" y="36"/>
                </a:cxn>
                <a:cxn ang="0">
                  <a:pos x="136" y="21"/>
                </a:cxn>
                <a:cxn ang="0">
                  <a:pos x="131" y="9"/>
                </a:cxn>
              </a:cxnLst>
              <a:rect l="0" t="0" r="r" b="b"/>
              <a:pathLst>
                <a:path w="154" h="153">
                  <a:moveTo>
                    <a:pt x="131" y="9"/>
                  </a:moveTo>
                  <a:lnTo>
                    <a:pt x="131" y="5"/>
                  </a:lnTo>
                  <a:lnTo>
                    <a:pt x="122" y="10"/>
                  </a:lnTo>
                  <a:lnTo>
                    <a:pt x="117" y="10"/>
                  </a:lnTo>
                  <a:lnTo>
                    <a:pt x="116" y="9"/>
                  </a:lnTo>
                  <a:lnTo>
                    <a:pt x="109" y="10"/>
                  </a:lnTo>
                  <a:lnTo>
                    <a:pt x="107" y="9"/>
                  </a:lnTo>
                  <a:lnTo>
                    <a:pt x="104" y="7"/>
                  </a:lnTo>
                  <a:lnTo>
                    <a:pt x="100" y="2"/>
                  </a:lnTo>
                  <a:lnTo>
                    <a:pt x="97" y="3"/>
                  </a:lnTo>
                  <a:lnTo>
                    <a:pt x="90" y="3"/>
                  </a:lnTo>
                  <a:lnTo>
                    <a:pt x="88" y="2"/>
                  </a:lnTo>
                  <a:lnTo>
                    <a:pt x="82" y="5"/>
                  </a:lnTo>
                  <a:lnTo>
                    <a:pt x="83" y="3"/>
                  </a:lnTo>
                  <a:lnTo>
                    <a:pt x="78" y="3"/>
                  </a:lnTo>
                  <a:lnTo>
                    <a:pt x="59" y="14"/>
                  </a:lnTo>
                  <a:lnTo>
                    <a:pt x="30" y="3"/>
                  </a:lnTo>
                  <a:lnTo>
                    <a:pt x="17" y="2"/>
                  </a:lnTo>
                  <a:lnTo>
                    <a:pt x="8" y="2"/>
                  </a:lnTo>
                  <a:lnTo>
                    <a:pt x="6" y="0"/>
                  </a:lnTo>
                  <a:lnTo>
                    <a:pt x="5" y="0"/>
                  </a:lnTo>
                  <a:lnTo>
                    <a:pt x="1" y="5"/>
                  </a:lnTo>
                  <a:lnTo>
                    <a:pt x="3" y="21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4"/>
                  </a:lnTo>
                  <a:lnTo>
                    <a:pt x="1" y="38"/>
                  </a:lnTo>
                  <a:lnTo>
                    <a:pt x="6" y="41"/>
                  </a:lnTo>
                  <a:lnTo>
                    <a:pt x="6" y="55"/>
                  </a:lnTo>
                  <a:lnTo>
                    <a:pt x="6" y="68"/>
                  </a:lnTo>
                  <a:lnTo>
                    <a:pt x="6" y="82"/>
                  </a:lnTo>
                  <a:lnTo>
                    <a:pt x="6" y="96"/>
                  </a:lnTo>
                  <a:lnTo>
                    <a:pt x="6" y="109"/>
                  </a:lnTo>
                  <a:lnTo>
                    <a:pt x="6" y="123"/>
                  </a:lnTo>
                  <a:lnTo>
                    <a:pt x="6" y="136"/>
                  </a:lnTo>
                  <a:lnTo>
                    <a:pt x="6" y="148"/>
                  </a:lnTo>
                  <a:lnTo>
                    <a:pt x="17" y="148"/>
                  </a:lnTo>
                  <a:lnTo>
                    <a:pt x="27" y="148"/>
                  </a:lnTo>
                  <a:lnTo>
                    <a:pt x="39" y="148"/>
                  </a:lnTo>
                  <a:lnTo>
                    <a:pt x="49" y="148"/>
                  </a:lnTo>
                  <a:lnTo>
                    <a:pt x="59" y="148"/>
                  </a:lnTo>
                  <a:lnTo>
                    <a:pt x="70" y="148"/>
                  </a:lnTo>
                  <a:lnTo>
                    <a:pt x="82" y="148"/>
                  </a:lnTo>
                  <a:lnTo>
                    <a:pt x="92" y="148"/>
                  </a:lnTo>
                  <a:lnTo>
                    <a:pt x="93" y="145"/>
                  </a:lnTo>
                  <a:lnTo>
                    <a:pt x="95" y="147"/>
                  </a:lnTo>
                  <a:lnTo>
                    <a:pt x="93" y="148"/>
                  </a:lnTo>
                  <a:lnTo>
                    <a:pt x="105" y="148"/>
                  </a:lnTo>
                  <a:lnTo>
                    <a:pt x="119" y="148"/>
                  </a:lnTo>
                  <a:lnTo>
                    <a:pt x="124" y="152"/>
                  </a:lnTo>
                  <a:lnTo>
                    <a:pt x="129" y="152"/>
                  </a:lnTo>
                  <a:lnTo>
                    <a:pt x="131" y="145"/>
                  </a:lnTo>
                  <a:lnTo>
                    <a:pt x="140" y="143"/>
                  </a:lnTo>
                  <a:lnTo>
                    <a:pt x="143" y="136"/>
                  </a:lnTo>
                  <a:lnTo>
                    <a:pt x="146" y="136"/>
                  </a:lnTo>
                  <a:lnTo>
                    <a:pt x="151" y="133"/>
                  </a:lnTo>
                  <a:lnTo>
                    <a:pt x="150" y="121"/>
                  </a:lnTo>
                  <a:lnTo>
                    <a:pt x="153" y="119"/>
                  </a:lnTo>
                  <a:lnTo>
                    <a:pt x="145" y="113"/>
                  </a:lnTo>
                  <a:lnTo>
                    <a:pt x="129" y="82"/>
                  </a:lnTo>
                  <a:lnTo>
                    <a:pt x="128" y="70"/>
                  </a:lnTo>
                  <a:lnTo>
                    <a:pt x="122" y="65"/>
                  </a:lnTo>
                  <a:lnTo>
                    <a:pt x="122" y="58"/>
                  </a:lnTo>
                  <a:lnTo>
                    <a:pt x="116" y="51"/>
                  </a:lnTo>
                  <a:lnTo>
                    <a:pt x="111" y="44"/>
                  </a:lnTo>
                  <a:lnTo>
                    <a:pt x="111" y="38"/>
                  </a:lnTo>
                  <a:lnTo>
                    <a:pt x="107" y="32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2" y="34"/>
                  </a:lnTo>
                  <a:lnTo>
                    <a:pt x="119" y="44"/>
                  </a:lnTo>
                  <a:lnTo>
                    <a:pt x="119" y="49"/>
                  </a:lnTo>
                  <a:lnTo>
                    <a:pt x="129" y="61"/>
                  </a:lnTo>
                  <a:lnTo>
                    <a:pt x="134" y="60"/>
                  </a:lnTo>
                  <a:lnTo>
                    <a:pt x="136" y="53"/>
                  </a:lnTo>
                  <a:lnTo>
                    <a:pt x="141" y="36"/>
                  </a:lnTo>
                  <a:lnTo>
                    <a:pt x="138" y="29"/>
                  </a:lnTo>
                  <a:lnTo>
                    <a:pt x="136" y="21"/>
                  </a:lnTo>
                  <a:lnTo>
                    <a:pt x="133" y="14"/>
                  </a:lnTo>
                  <a:lnTo>
                    <a:pt x="131" y="9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Freeform 51">
              <a:extLst>
                <a:ext uri="{FF2B5EF4-FFF2-40B4-BE49-F238E27FC236}">
                  <a16:creationId xmlns:a16="http://schemas.microsoft.com/office/drawing/2014/main" id="{955676B9-4F08-5A4C-908B-887B6DD05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1680" y="2625745"/>
              <a:ext cx="138937" cy="124348"/>
            </a:xfrm>
            <a:custGeom>
              <a:avLst/>
              <a:gdLst/>
              <a:ahLst/>
              <a:cxnLst>
                <a:cxn ang="0">
                  <a:pos x="251" y="52"/>
                </a:cxn>
                <a:cxn ang="0">
                  <a:pos x="257" y="40"/>
                </a:cxn>
                <a:cxn ang="0">
                  <a:pos x="257" y="23"/>
                </a:cxn>
                <a:cxn ang="0">
                  <a:pos x="239" y="9"/>
                </a:cxn>
                <a:cxn ang="0">
                  <a:pos x="227" y="11"/>
                </a:cxn>
                <a:cxn ang="0">
                  <a:pos x="218" y="11"/>
                </a:cxn>
                <a:cxn ang="0">
                  <a:pos x="203" y="0"/>
                </a:cxn>
                <a:cxn ang="0">
                  <a:pos x="198" y="2"/>
                </a:cxn>
                <a:cxn ang="0">
                  <a:pos x="193" y="0"/>
                </a:cxn>
                <a:cxn ang="0">
                  <a:pos x="179" y="0"/>
                </a:cxn>
                <a:cxn ang="0">
                  <a:pos x="172" y="6"/>
                </a:cxn>
                <a:cxn ang="0">
                  <a:pos x="153" y="7"/>
                </a:cxn>
                <a:cxn ang="0">
                  <a:pos x="143" y="7"/>
                </a:cxn>
                <a:cxn ang="0">
                  <a:pos x="140" y="12"/>
                </a:cxn>
                <a:cxn ang="0">
                  <a:pos x="117" y="9"/>
                </a:cxn>
                <a:cxn ang="0">
                  <a:pos x="114" y="11"/>
                </a:cxn>
                <a:cxn ang="0">
                  <a:pos x="99" y="0"/>
                </a:cxn>
                <a:cxn ang="0">
                  <a:pos x="90" y="21"/>
                </a:cxn>
                <a:cxn ang="0">
                  <a:pos x="87" y="31"/>
                </a:cxn>
                <a:cxn ang="0">
                  <a:pos x="75" y="81"/>
                </a:cxn>
                <a:cxn ang="0">
                  <a:pos x="56" y="101"/>
                </a:cxn>
                <a:cxn ang="0">
                  <a:pos x="53" y="116"/>
                </a:cxn>
                <a:cxn ang="0">
                  <a:pos x="36" y="137"/>
                </a:cxn>
                <a:cxn ang="0">
                  <a:pos x="27" y="137"/>
                </a:cxn>
                <a:cxn ang="0">
                  <a:pos x="20" y="133"/>
                </a:cxn>
                <a:cxn ang="0">
                  <a:pos x="13" y="139"/>
                </a:cxn>
                <a:cxn ang="0">
                  <a:pos x="3" y="140"/>
                </a:cxn>
                <a:cxn ang="0">
                  <a:pos x="0" y="152"/>
                </a:cxn>
                <a:cxn ang="0">
                  <a:pos x="13" y="152"/>
                </a:cxn>
                <a:cxn ang="0">
                  <a:pos x="34" y="152"/>
                </a:cxn>
                <a:cxn ang="0">
                  <a:pos x="54" y="152"/>
                </a:cxn>
                <a:cxn ang="0">
                  <a:pos x="63" y="173"/>
                </a:cxn>
                <a:cxn ang="0">
                  <a:pos x="75" y="183"/>
                </a:cxn>
                <a:cxn ang="0">
                  <a:pos x="95" y="181"/>
                </a:cxn>
                <a:cxn ang="0">
                  <a:pos x="116" y="166"/>
                </a:cxn>
                <a:cxn ang="0">
                  <a:pos x="128" y="173"/>
                </a:cxn>
                <a:cxn ang="0">
                  <a:pos x="131" y="195"/>
                </a:cxn>
                <a:cxn ang="0">
                  <a:pos x="135" y="217"/>
                </a:cxn>
                <a:cxn ang="0">
                  <a:pos x="138" y="227"/>
                </a:cxn>
                <a:cxn ang="0">
                  <a:pos x="148" y="222"/>
                </a:cxn>
                <a:cxn ang="0">
                  <a:pos x="162" y="222"/>
                </a:cxn>
                <a:cxn ang="0">
                  <a:pos x="169" y="227"/>
                </a:cxn>
                <a:cxn ang="0">
                  <a:pos x="181" y="231"/>
                </a:cxn>
                <a:cxn ang="0">
                  <a:pos x="203" y="234"/>
                </a:cxn>
                <a:cxn ang="0">
                  <a:pos x="218" y="241"/>
                </a:cxn>
                <a:cxn ang="0">
                  <a:pos x="228" y="253"/>
                </a:cxn>
                <a:cxn ang="0">
                  <a:pos x="237" y="253"/>
                </a:cxn>
                <a:cxn ang="0">
                  <a:pos x="239" y="241"/>
                </a:cxn>
                <a:cxn ang="0">
                  <a:pos x="223" y="234"/>
                </a:cxn>
                <a:cxn ang="0">
                  <a:pos x="228" y="208"/>
                </a:cxn>
                <a:cxn ang="0">
                  <a:pos x="228" y="196"/>
                </a:cxn>
                <a:cxn ang="0">
                  <a:pos x="232" y="190"/>
                </a:cxn>
                <a:cxn ang="0">
                  <a:pos x="251" y="185"/>
                </a:cxn>
                <a:cxn ang="0">
                  <a:pos x="240" y="168"/>
                </a:cxn>
                <a:cxn ang="0">
                  <a:pos x="235" y="150"/>
                </a:cxn>
                <a:cxn ang="0">
                  <a:pos x="232" y="142"/>
                </a:cxn>
                <a:cxn ang="0">
                  <a:pos x="233" y="130"/>
                </a:cxn>
                <a:cxn ang="0">
                  <a:pos x="232" y="127"/>
                </a:cxn>
                <a:cxn ang="0">
                  <a:pos x="235" y="111"/>
                </a:cxn>
                <a:cxn ang="0">
                  <a:pos x="230" y="104"/>
                </a:cxn>
                <a:cxn ang="0">
                  <a:pos x="240" y="89"/>
                </a:cxn>
                <a:cxn ang="0">
                  <a:pos x="242" y="74"/>
                </a:cxn>
                <a:cxn ang="0">
                  <a:pos x="251" y="55"/>
                </a:cxn>
              </a:cxnLst>
              <a:rect l="0" t="0" r="r" b="b"/>
              <a:pathLst>
                <a:path w="263" h="255">
                  <a:moveTo>
                    <a:pt x="251" y="55"/>
                  </a:moveTo>
                  <a:lnTo>
                    <a:pt x="251" y="52"/>
                  </a:lnTo>
                  <a:lnTo>
                    <a:pt x="262" y="41"/>
                  </a:lnTo>
                  <a:lnTo>
                    <a:pt x="257" y="40"/>
                  </a:lnTo>
                  <a:lnTo>
                    <a:pt x="256" y="36"/>
                  </a:lnTo>
                  <a:lnTo>
                    <a:pt x="257" y="23"/>
                  </a:lnTo>
                  <a:lnTo>
                    <a:pt x="256" y="23"/>
                  </a:lnTo>
                  <a:lnTo>
                    <a:pt x="239" y="9"/>
                  </a:lnTo>
                  <a:lnTo>
                    <a:pt x="235" y="11"/>
                  </a:lnTo>
                  <a:lnTo>
                    <a:pt x="227" y="11"/>
                  </a:lnTo>
                  <a:lnTo>
                    <a:pt x="223" y="12"/>
                  </a:lnTo>
                  <a:lnTo>
                    <a:pt x="218" y="11"/>
                  </a:lnTo>
                  <a:lnTo>
                    <a:pt x="210" y="0"/>
                  </a:lnTo>
                  <a:lnTo>
                    <a:pt x="203" y="0"/>
                  </a:lnTo>
                  <a:lnTo>
                    <a:pt x="201" y="4"/>
                  </a:lnTo>
                  <a:lnTo>
                    <a:pt x="198" y="2"/>
                  </a:lnTo>
                  <a:lnTo>
                    <a:pt x="196" y="4"/>
                  </a:lnTo>
                  <a:lnTo>
                    <a:pt x="193" y="0"/>
                  </a:lnTo>
                  <a:lnTo>
                    <a:pt x="184" y="2"/>
                  </a:lnTo>
                  <a:lnTo>
                    <a:pt x="179" y="0"/>
                  </a:lnTo>
                  <a:lnTo>
                    <a:pt x="177" y="4"/>
                  </a:lnTo>
                  <a:lnTo>
                    <a:pt x="172" y="6"/>
                  </a:lnTo>
                  <a:lnTo>
                    <a:pt x="169" y="2"/>
                  </a:lnTo>
                  <a:lnTo>
                    <a:pt x="153" y="7"/>
                  </a:lnTo>
                  <a:lnTo>
                    <a:pt x="146" y="6"/>
                  </a:lnTo>
                  <a:lnTo>
                    <a:pt x="143" y="7"/>
                  </a:lnTo>
                  <a:lnTo>
                    <a:pt x="141" y="12"/>
                  </a:lnTo>
                  <a:lnTo>
                    <a:pt x="140" y="12"/>
                  </a:lnTo>
                  <a:lnTo>
                    <a:pt x="128" y="12"/>
                  </a:lnTo>
                  <a:lnTo>
                    <a:pt x="117" y="9"/>
                  </a:lnTo>
                  <a:lnTo>
                    <a:pt x="116" y="11"/>
                  </a:lnTo>
                  <a:lnTo>
                    <a:pt x="114" y="11"/>
                  </a:lnTo>
                  <a:lnTo>
                    <a:pt x="107" y="2"/>
                  </a:lnTo>
                  <a:lnTo>
                    <a:pt x="99" y="0"/>
                  </a:lnTo>
                  <a:lnTo>
                    <a:pt x="90" y="11"/>
                  </a:lnTo>
                  <a:lnTo>
                    <a:pt x="90" y="21"/>
                  </a:lnTo>
                  <a:lnTo>
                    <a:pt x="87" y="21"/>
                  </a:lnTo>
                  <a:lnTo>
                    <a:pt x="87" y="31"/>
                  </a:lnTo>
                  <a:lnTo>
                    <a:pt x="78" y="46"/>
                  </a:lnTo>
                  <a:lnTo>
                    <a:pt x="75" y="81"/>
                  </a:lnTo>
                  <a:lnTo>
                    <a:pt x="61" y="91"/>
                  </a:lnTo>
                  <a:lnTo>
                    <a:pt x="56" y="101"/>
                  </a:lnTo>
                  <a:lnTo>
                    <a:pt x="54" y="106"/>
                  </a:lnTo>
                  <a:lnTo>
                    <a:pt x="53" y="116"/>
                  </a:lnTo>
                  <a:lnTo>
                    <a:pt x="49" y="125"/>
                  </a:lnTo>
                  <a:lnTo>
                    <a:pt x="36" y="137"/>
                  </a:lnTo>
                  <a:lnTo>
                    <a:pt x="30" y="139"/>
                  </a:lnTo>
                  <a:lnTo>
                    <a:pt x="27" y="137"/>
                  </a:lnTo>
                  <a:lnTo>
                    <a:pt x="27" y="132"/>
                  </a:lnTo>
                  <a:lnTo>
                    <a:pt x="20" y="133"/>
                  </a:lnTo>
                  <a:lnTo>
                    <a:pt x="17" y="139"/>
                  </a:lnTo>
                  <a:lnTo>
                    <a:pt x="13" y="139"/>
                  </a:lnTo>
                  <a:lnTo>
                    <a:pt x="8" y="137"/>
                  </a:lnTo>
                  <a:lnTo>
                    <a:pt x="3" y="140"/>
                  </a:lnTo>
                  <a:lnTo>
                    <a:pt x="1" y="150"/>
                  </a:lnTo>
                  <a:lnTo>
                    <a:pt x="0" y="152"/>
                  </a:lnTo>
                  <a:lnTo>
                    <a:pt x="0" y="157"/>
                  </a:lnTo>
                  <a:lnTo>
                    <a:pt x="13" y="152"/>
                  </a:lnTo>
                  <a:lnTo>
                    <a:pt x="24" y="152"/>
                  </a:lnTo>
                  <a:lnTo>
                    <a:pt x="34" y="152"/>
                  </a:lnTo>
                  <a:lnTo>
                    <a:pt x="44" y="152"/>
                  </a:lnTo>
                  <a:lnTo>
                    <a:pt x="54" y="152"/>
                  </a:lnTo>
                  <a:lnTo>
                    <a:pt x="59" y="156"/>
                  </a:lnTo>
                  <a:lnTo>
                    <a:pt x="63" y="173"/>
                  </a:lnTo>
                  <a:lnTo>
                    <a:pt x="71" y="181"/>
                  </a:lnTo>
                  <a:lnTo>
                    <a:pt x="75" y="183"/>
                  </a:lnTo>
                  <a:lnTo>
                    <a:pt x="87" y="181"/>
                  </a:lnTo>
                  <a:lnTo>
                    <a:pt x="95" y="181"/>
                  </a:lnTo>
                  <a:lnTo>
                    <a:pt x="99" y="168"/>
                  </a:lnTo>
                  <a:lnTo>
                    <a:pt x="116" y="166"/>
                  </a:lnTo>
                  <a:lnTo>
                    <a:pt x="116" y="171"/>
                  </a:lnTo>
                  <a:lnTo>
                    <a:pt x="128" y="173"/>
                  </a:lnTo>
                  <a:lnTo>
                    <a:pt x="129" y="174"/>
                  </a:lnTo>
                  <a:lnTo>
                    <a:pt x="131" y="195"/>
                  </a:lnTo>
                  <a:lnTo>
                    <a:pt x="131" y="202"/>
                  </a:lnTo>
                  <a:lnTo>
                    <a:pt x="135" y="217"/>
                  </a:lnTo>
                  <a:lnTo>
                    <a:pt x="133" y="225"/>
                  </a:lnTo>
                  <a:lnTo>
                    <a:pt x="138" y="227"/>
                  </a:lnTo>
                  <a:lnTo>
                    <a:pt x="140" y="224"/>
                  </a:lnTo>
                  <a:lnTo>
                    <a:pt x="148" y="222"/>
                  </a:lnTo>
                  <a:lnTo>
                    <a:pt x="158" y="222"/>
                  </a:lnTo>
                  <a:lnTo>
                    <a:pt x="162" y="222"/>
                  </a:lnTo>
                  <a:lnTo>
                    <a:pt x="165" y="220"/>
                  </a:lnTo>
                  <a:lnTo>
                    <a:pt x="169" y="227"/>
                  </a:lnTo>
                  <a:lnTo>
                    <a:pt x="177" y="224"/>
                  </a:lnTo>
                  <a:lnTo>
                    <a:pt x="181" y="231"/>
                  </a:lnTo>
                  <a:lnTo>
                    <a:pt x="193" y="236"/>
                  </a:lnTo>
                  <a:lnTo>
                    <a:pt x="203" y="234"/>
                  </a:lnTo>
                  <a:lnTo>
                    <a:pt x="208" y="237"/>
                  </a:lnTo>
                  <a:lnTo>
                    <a:pt x="218" y="241"/>
                  </a:lnTo>
                  <a:lnTo>
                    <a:pt x="222" y="248"/>
                  </a:lnTo>
                  <a:lnTo>
                    <a:pt x="228" y="253"/>
                  </a:lnTo>
                  <a:lnTo>
                    <a:pt x="233" y="254"/>
                  </a:lnTo>
                  <a:lnTo>
                    <a:pt x="237" y="253"/>
                  </a:lnTo>
                  <a:lnTo>
                    <a:pt x="240" y="254"/>
                  </a:lnTo>
                  <a:lnTo>
                    <a:pt x="239" y="241"/>
                  </a:lnTo>
                  <a:lnTo>
                    <a:pt x="230" y="241"/>
                  </a:lnTo>
                  <a:lnTo>
                    <a:pt x="223" y="234"/>
                  </a:lnTo>
                  <a:lnTo>
                    <a:pt x="228" y="215"/>
                  </a:lnTo>
                  <a:lnTo>
                    <a:pt x="228" y="208"/>
                  </a:lnTo>
                  <a:lnTo>
                    <a:pt x="228" y="200"/>
                  </a:lnTo>
                  <a:lnTo>
                    <a:pt x="228" y="196"/>
                  </a:lnTo>
                  <a:lnTo>
                    <a:pt x="230" y="193"/>
                  </a:lnTo>
                  <a:lnTo>
                    <a:pt x="232" y="190"/>
                  </a:lnTo>
                  <a:lnTo>
                    <a:pt x="233" y="188"/>
                  </a:lnTo>
                  <a:lnTo>
                    <a:pt x="251" y="185"/>
                  </a:lnTo>
                  <a:lnTo>
                    <a:pt x="249" y="176"/>
                  </a:lnTo>
                  <a:lnTo>
                    <a:pt x="240" y="168"/>
                  </a:lnTo>
                  <a:lnTo>
                    <a:pt x="235" y="161"/>
                  </a:lnTo>
                  <a:lnTo>
                    <a:pt x="235" y="150"/>
                  </a:lnTo>
                  <a:lnTo>
                    <a:pt x="233" y="145"/>
                  </a:lnTo>
                  <a:lnTo>
                    <a:pt x="232" y="142"/>
                  </a:lnTo>
                  <a:lnTo>
                    <a:pt x="233" y="132"/>
                  </a:lnTo>
                  <a:lnTo>
                    <a:pt x="233" y="130"/>
                  </a:lnTo>
                  <a:lnTo>
                    <a:pt x="232" y="130"/>
                  </a:lnTo>
                  <a:lnTo>
                    <a:pt x="232" y="127"/>
                  </a:lnTo>
                  <a:lnTo>
                    <a:pt x="235" y="118"/>
                  </a:lnTo>
                  <a:lnTo>
                    <a:pt x="235" y="111"/>
                  </a:lnTo>
                  <a:lnTo>
                    <a:pt x="232" y="108"/>
                  </a:lnTo>
                  <a:lnTo>
                    <a:pt x="230" y="104"/>
                  </a:lnTo>
                  <a:lnTo>
                    <a:pt x="235" y="98"/>
                  </a:lnTo>
                  <a:lnTo>
                    <a:pt x="240" y="89"/>
                  </a:lnTo>
                  <a:lnTo>
                    <a:pt x="240" y="77"/>
                  </a:lnTo>
                  <a:lnTo>
                    <a:pt x="242" y="74"/>
                  </a:lnTo>
                  <a:lnTo>
                    <a:pt x="244" y="67"/>
                  </a:lnTo>
                  <a:lnTo>
                    <a:pt x="251" y="55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Freeform 52">
              <a:extLst>
                <a:ext uri="{FF2B5EF4-FFF2-40B4-BE49-F238E27FC236}">
                  <a16:creationId xmlns:a16="http://schemas.microsoft.com/office/drawing/2014/main" id="{96B2EFBE-BE4B-0947-8290-8FD493D77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263" y="2811536"/>
              <a:ext cx="120447" cy="97528"/>
            </a:xfrm>
            <a:custGeom>
              <a:avLst/>
              <a:gdLst/>
              <a:ahLst/>
              <a:cxnLst>
                <a:cxn ang="0">
                  <a:pos x="19" y="105"/>
                </a:cxn>
                <a:cxn ang="0">
                  <a:pos x="15" y="100"/>
                </a:cxn>
                <a:cxn ang="0">
                  <a:pos x="7" y="95"/>
                </a:cxn>
                <a:cxn ang="0">
                  <a:pos x="0" y="100"/>
                </a:cxn>
                <a:cxn ang="0">
                  <a:pos x="26" y="153"/>
                </a:cxn>
                <a:cxn ang="0">
                  <a:pos x="24" y="167"/>
                </a:cxn>
                <a:cxn ang="0">
                  <a:pos x="19" y="170"/>
                </a:cxn>
                <a:cxn ang="0">
                  <a:pos x="22" y="174"/>
                </a:cxn>
                <a:cxn ang="0">
                  <a:pos x="27" y="187"/>
                </a:cxn>
                <a:cxn ang="0">
                  <a:pos x="29" y="189"/>
                </a:cxn>
                <a:cxn ang="0">
                  <a:pos x="32" y="192"/>
                </a:cxn>
                <a:cxn ang="0">
                  <a:pos x="39" y="196"/>
                </a:cxn>
                <a:cxn ang="0">
                  <a:pos x="50" y="199"/>
                </a:cxn>
                <a:cxn ang="0">
                  <a:pos x="75" y="192"/>
                </a:cxn>
                <a:cxn ang="0">
                  <a:pos x="80" y="187"/>
                </a:cxn>
                <a:cxn ang="0">
                  <a:pos x="92" y="189"/>
                </a:cxn>
                <a:cxn ang="0">
                  <a:pos x="116" y="191"/>
                </a:cxn>
                <a:cxn ang="0">
                  <a:pos x="128" y="187"/>
                </a:cxn>
                <a:cxn ang="0">
                  <a:pos x="130" y="184"/>
                </a:cxn>
                <a:cxn ang="0">
                  <a:pos x="148" y="180"/>
                </a:cxn>
                <a:cxn ang="0">
                  <a:pos x="181" y="148"/>
                </a:cxn>
                <a:cxn ang="0">
                  <a:pos x="206" y="110"/>
                </a:cxn>
                <a:cxn ang="0">
                  <a:pos x="227" y="71"/>
                </a:cxn>
                <a:cxn ang="0">
                  <a:pos x="215" y="56"/>
                </a:cxn>
                <a:cxn ang="0">
                  <a:pos x="208" y="8"/>
                </a:cxn>
                <a:cxn ang="0">
                  <a:pos x="198" y="3"/>
                </a:cxn>
                <a:cxn ang="0">
                  <a:pos x="181" y="0"/>
                </a:cxn>
                <a:cxn ang="0">
                  <a:pos x="162" y="10"/>
                </a:cxn>
                <a:cxn ang="0">
                  <a:pos x="145" y="27"/>
                </a:cxn>
                <a:cxn ang="0">
                  <a:pos x="130" y="42"/>
                </a:cxn>
                <a:cxn ang="0">
                  <a:pos x="114" y="54"/>
                </a:cxn>
                <a:cxn ang="0">
                  <a:pos x="96" y="51"/>
                </a:cxn>
                <a:cxn ang="0">
                  <a:pos x="70" y="71"/>
                </a:cxn>
                <a:cxn ang="0">
                  <a:pos x="58" y="68"/>
                </a:cxn>
                <a:cxn ang="0">
                  <a:pos x="60" y="54"/>
                </a:cxn>
                <a:cxn ang="0">
                  <a:pos x="48" y="56"/>
                </a:cxn>
                <a:cxn ang="0">
                  <a:pos x="48" y="99"/>
                </a:cxn>
              </a:cxnLst>
              <a:rect l="0" t="0" r="r" b="b"/>
              <a:pathLst>
                <a:path w="228" h="200">
                  <a:moveTo>
                    <a:pt x="36" y="105"/>
                  </a:moveTo>
                  <a:lnTo>
                    <a:pt x="19" y="105"/>
                  </a:lnTo>
                  <a:lnTo>
                    <a:pt x="15" y="102"/>
                  </a:lnTo>
                  <a:lnTo>
                    <a:pt x="15" y="100"/>
                  </a:lnTo>
                  <a:lnTo>
                    <a:pt x="9" y="95"/>
                  </a:lnTo>
                  <a:lnTo>
                    <a:pt x="7" y="95"/>
                  </a:lnTo>
                  <a:lnTo>
                    <a:pt x="3" y="100"/>
                  </a:lnTo>
                  <a:lnTo>
                    <a:pt x="0" y="100"/>
                  </a:lnTo>
                  <a:lnTo>
                    <a:pt x="14" y="133"/>
                  </a:lnTo>
                  <a:lnTo>
                    <a:pt x="26" y="153"/>
                  </a:lnTo>
                  <a:lnTo>
                    <a:pt x="26" y="163"/>
                  </a:lnTo>
                  <a:lnTo>
                    <a:pt x="24" y="167"/>
                  </a:lnTo>
                  <a:lnTo>
                    <a:pt x="21" y="165"/>
                  </a:lnTo>
                  <a:lnTo>
                    <a:pt x="19" y="170"/>
                  </a:lnTo>
                  <a:lnTo>
                    <a:pt x="22" y="172"/>
                  </a:lnTo>
                  <a:lnTo>
                    <a:pt x="22" y="174"/>
                  </a:lnTo>
                  <a:lnTo>
                    <a:pt x="27" y="182"/>
                  </a:lnTo>
                  <a:lnTo>
                    <a:pt x="27" y="187"/>
                  </a:lnTo>
                  <a:lnTo>
                    <a:pt x="27" y="192"/>
                  </a:lnTo>
                  <a:lnTo>
                    <a:pt x="29" y="189"/>
                  </a:lnTo>
                  <a:lnTo>
                    <a:pt x="32" y="189"/>
                  </a:lnTo>
                  <a:lnTo>
                    <a:pt x="32" y="192"/>
                  </a:lnTo>
                  <a:lnTo>
                    <a:pt x="39" y="194"/>
                  </a:lnTo>
                  <a:lnTo>
                    <a:pt x="39" y="196"/>
                  </a:lnTo>
                  <a:lnTo>
                    <a:pt x="43" y="197"/>
                  </a:lnTo>
                  <a:lnTo>
                    <a:pt x="50" y="199"/>
                  </a:lnTo>
                  <a:lnTo>
                    <a:pt x="55" y="196"/>
                  </a:lnTo>
                  <a:lnTo>
                    <a:pt x="75" y="192"/>
                  </a:lnTo>
                  <a:lnTo>
                    <a:pt x="75" y="191"/>
                  </a:lnTo>
                  <a:lnTo>
                    <a:pt x="80" y="187"/>
                  </a:lnTo>
                  <a:lnTo>
                    <a:pt x="84" y="187"/>
                  </a:lnTo>
                  <a:lnTo>
                    <a:pt x="92" y="189"/>
                  </a:lnTo>
                  <a:lnTo>
                    <a:pt x="99" y="187"/>
                  </a:lnTo>
                  <a:lnTo>
                    <a:pt x="116" y="191"/>
                  </a:lnTo>
                  <a:lnTo>
                    <a:pt x="118" y="187"/>
                  </a:lnTo>
                  <a:lnTo>
                    <a:pt x="128" y="187"/>
                  </a:lnTo>
                  <a:lnTo>
                    <a:pt x="128" y="184"/>
                  </a:lnTo>
                  <a:lnTo>
                    <a:pt x="130" y="184"/>
                  </a:lnTo>
                  <a:lnTo>
                    <a:pt x="143" y="182"/>
                  </a:lnTo>
                  <a:lnTo>
                    <a:pt x="148" y="180"/>
                  </a:lnTo>
                  <a:lnTo>
                    <a:pt x="167" y="163"/>
                  </a:lnTo>
                  <a:lnTo>
                    <a:pt x="181" y="148"/>
                  </a:lnTo>
                  <a:lnTo>
                    <a:pt x="188" y="141"/>
                  </a:lnTo>
                  <a:lnTo>
                    <a:pt x="206" y="110"/>
                  </a:lnTo>
                  <a:lnTo>
                    <a:pt x="220" y="97"/>
                  </a:lnTo>
                  <a:lnTo>
                    <a:pt x="227" y="71"/>
                  </a:lnTo>
                  <a:lnTo>
                    <a:pt x="215" y="71"/>
                  </a:lnTo>
                  <a:lnTo>
                    <a:pt x="215" y="56"/>
                  </a:lnTo>
                  <a:lnTo>
                    <a:pt x="213" y="34"/>
                  </a:lnTo>
                  <a:lnTo>
                    <a:pt x="208" y="8"/>
                  </a:lnTo>
                  <a:lnTo>
                    <a:pt x="203" y="5"/>
                  </a:lnTo>
                  <a:lnTo>
                    <a:pt x="198" y="3"/>
                  </a:lnTo>
                  <a:lnTo>
                    <a:pt x="189" y="3"/>
                  </a:lnTo>
                  <a:lnTo>
                    <a:pt x="181" y="0"/>
                  </a:lnTo>
                  <a:lnTo>
                    <a:pt x="177" y="1"/>
                  </a:lnTo>
                  <a:lnTo>
                    <a:pt x="162" y="10"/>
                  </a:lnTo>
                  <a:lnTo>
                    <a:pt x="154" y="17"/>
                  </a:lnTo>
                  <a:lnTo>
                    <a:pt x="145" y="27"/>
                  </a:lnTo>
                  <a:lnTo>
                    <a:pt x="142" y="32"/>
                  </a:lnTo>
                  <a:lnTo>
                    <a:pt x="130" y="42"/>
                  </a:lnTo>
                  <a:lnTo>
                    <a:pt x="125" y="52"/>
                  </a:lnTo>
                  <a:lnTo>
                    <a:pt x="114" y="54"/>
                  </a:lnTo>
                  <a:lnTo>
                    <a:pt x="102" y="51"/>
                  </a:lnTo>
                  <a:lnTo>
                    <a:pt x="96" y="51"/>
                  </a:lnTo>
                  <a:lnTo>
                    <a:pt x="79" y="70"/>
                  </a:lnTo>
                  <a:lnTo>
                    <a:pt x="70" y="71"/>
                  </a:lnTo>
                  <a:lnTo>
                    <a:pt x="60" y="70"/>
                  </a:lnTo>
                  <a:lnTo>
                    <a:pt x="58" y="68"/>
                  </a:lnTo>
                  <a:lnTo>
                    <a:pt x="61" y="59"/>
                  </a:lnTo>
                  <a:lnTo>
                    <a:pt x="60" y="54"/>
                  </a:lnTo>
                  <a:lnTo>
                    <a:pt x="48" y="41"/>
                  </a:lnTo>
                  <a:lnTo>
                    <a:pt x="48" y="56"/>
                  </a:lnTo>
                  <a:lnTo>
                    <a:pt x="48" y="73"/>
                  </a:lnTo>
                  <a:lnTo>
                    <a:pt x="48" y="99"/>
                  </a:lnTo>
                  <a:lnTo>
                    <a:pt x="36" y="105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6" name="Freeform 54">
              <a:extLst>
                <a:ext uri="{FF2B5EF4-FFF2-40B4-BE49-F238E27FC236}">
                  <a16:creationId xmlns:a16="http://schemas.microsoft.com/office/drawing/2014/main" id="{095F56C7-BB85-BD41-B874-AB7AE2A5C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997" y="2715958"/>
              <a:ext cx="85053" cy="67782"/>
            </a:xfrm>
            <a:custGeom>
              <a:avLst/>
              <a:gdLst/>
              <a:ahLst/>
              <a:cxnLst>
                <a:cxn ang="0">
                  <a:pos x="76" y="121"/>
                </a:cxn>
                <a:cxn ang="0">
                  <a:pos x="85" y="117"/>
                </a:cxn>
                <a:cxn ang="0">
                  <a:pos x="90" y="114"/>
                </a:cxn>
                <a:cxn ang="0">
                  <a:pos x="104" y="104"/>
                </a:cxn>
                <a:cxn ang="0">
                  <a:pos x="112" y="104"/>
                </a:cxn>
                <a:cxn ang="0">
                  <a:pos x="119" y="92"/>
                </a:cxn>
                <a:cxn ang="0">
                  <a:pos x="143" y="85"/>
                </a:cxn>
                <a:cxn ang="0">
                  <a:pos x="150" y="80"/>
                </a:cxn>
                <a:cxn ang="0">
                  <a:pos x="150" y="69"/>
                </a:cxn>
                <a:cxn ang="0">
                  <a:pos x="156" y="59"/>
                </a:cxn>
                <a:cxn ang="0">
                  <a:pos x="155" y="46"/>
                </a:cxn>
                <a:cxn ang="0">
                  <a:pos x="160" y="34"/>
                </a:cxn>
                <a:cxn ang="0">
                  <a:pos x="153" y="20"/>
                </a:cxn>
                <a:cxn ang="0">
                  <a:pos x="150" y="17"/>
                </a:cxn>
                <a:cxn ang="0">
                  <a:pos x="127" y="5"/>
                </a:cxn>
                <a:cxn ang="0">
                  <a:pos x="122" y="8"/>
                </a:cxn>
                <a:cxn ang="0">
                  <a:pos x="116" y="0"/>
                </a:cxn>
                <a:cxn ang="0">
                  <a:pos x="97" y="5"/>
                </a:cxn>
                <a:cxn ang="0">
                  <a:pos x="93" y="11"/>
                </a:cxn>
                <a:cxn ang="0">
                  <a:pos x="93" y="23"/>
                </a:cxn>
                <a:cxn ang="0">
                  <a:pos x="88" y="49"/>
                </a:cxn>
                <a:cxn ang="0">
                  <a:pos x="104" y="56"/>
                </a:cxn>
                <a:cxn ang="0">
                  <a:pos x="102" y="68"/>
                </a:cxn>
                <a:cxn ang="0">
                  <a:pos x="93" y="68"/>
                </a:cxn>
                <a:cxn ang="0">
                  <a:pos x="83" y="56"/>
                </a:cxn>
                <a:cxn ang="0">
                  <a:pos x="68" y="49"/>
                </a:cxn>
                <a:cxn ang="0">
                  <a:pos x="46" y="46"/>
                </a:cxn>
                <a:cxn ang="0">
                  <a:pos x="34" y="42"/>
                </a:cxn>
                <a:cxn ang="0">
                  <a:pos x="27" y="37"/>
                </a:cxn>
                <a:cxn ang="0">
                  <a:pos x="29" y="66"/>
                </a:cxn>
                <a:cxn ang="0">
                  <a:pos x="8" y="66"/>
                </a:cxn>
                <a:cxn ang="0">
                  <a:pos x="0" y="76"/>
                </a:cxn>
                <a:cxn ang="0">
                  <a:pos x="0" y="100"/>
                </a:cxn>
                <a:cxn ang="0">
                  <a:pos x="15" y="131"/>
                </a:cxn>
                <a:cxn ang="0">
                  <a:pos x="37" y="129"/>
                </a:cxn>
                <a:cxn ang="0">
                  <a:pos x="52" y="136"/>
                </a:cxn>
                <a:cxn ang="0">
                  <a:pos x="63" y="138"/>
                </a:cxn>
                <a:cxn ang="0">
                  <a:pos x="66" y="136"/>
                </a:cxn>
              </a:cxnLst>
              <a:rect l="0" t="0" r="r" b="b"/>
              <a:pathLst>
                <a:path w="161" h="139">
                  <a:moveTo>
                    <a:pt x="66" y="136"/>
                  </a:moveTo>
                  <a:lnTo>
                    <a:pt x="76" y="121"/>
                  </a:lnTo>
                  <a:lnTo>
                    <a:pt x="80" y="121"/>
                  </a:lnTo>
                  <a:lnTo>
                    <a:pt x="85" y="117"/>
                  </a:lnTo>
                  <a:lnTo>
                    <a:pt x="90" y="117"/>
                  </a:lnTo>
                  <a:lnTo>
                    <a:pt x="90" y="114"/>
                  </a:lnTo>
                  <a:lnTo>
                    <a:pt x="92" y="109"/>
                  </a:lnTo>
                  <a:lnTo>
                    <a:pt x="104" y="104"/>
                  </a:lnTo>
                  <a:lnTo>
                    <a:pt x="109" y="104"/>
                  </a:lnTo>
                  <a:lnTo>
                    <a:pt x="112" y="104"/>
                  </a:lnTo>
                  <a:lnTo>
                    <a:pt x="109" y="95"/>
                  </a:lnTo>
                  <a:lnTo>
                    <a:pt x="119" y="92"/>
                  </a:lnTo>
                  <a:lnTo>
                    <a:pt x="131" y="88"/>
                  </a:lnTo>
                  <a:lnTo>
                    <a:pt x="143" y="85"/>
                  </a:lnTo>
                  <a:lnTo>
                    <a:pt x="153" y="81"/>
                  </a:lnTo>
                  <a:lnTo>
                    <a:pt x="150" y="80"/>
                  </a:lnTo>
                  <a:lnTo>
                    <a:pt x="146" y="76"/>
                  </a:lnTo>
                  <a:lnTo>
                    <a:pt x="150" y="69"/>
                  </a:lnTo>
                  <a:lnTo>
                    <a:pt x="151" y="63"/>
                  </a:lnTo>
                  <a:lnTo>
                    <a:pt x="156" y="59"/>
                  </a:lnTo>
                  <a:lnTo>
                    <a:pt x="155" y="56"/>
                  </a:lnTo>
                  <a:lnTo>
                    <a:pt x="155" y="46"/>
                  </a:lnTo>
                  <a:lnTo>
                    <a:pt x="156" y="37"/>
                  </a:lnTo>
                  <a:lnTo>
                    <a:pt x="160" y="34"/>
                  </a:lnTo>
                  <a:lnTo>
                    <a:pt x="155" y="22"/>
                  </a:lnTo>
                  <a:lnTo>
                    <a:pt x="153" y="20"/>
                  </a:lnTo>
                  <a:lnTo>
                    <a:pt x="151" y="20"/>
                  </a:lnTo>
                  <a:lnTo>
                    <a:pt x="150" y="17"/>
                  </a:lnTo>
                  <a:lnTo>
                    <a:pt x="134" y="10"/>
                  </a:lnTo>
                  <a:lnTo>
                    <a:pt x="127" y="5"/>
                  </a:lnTo>
                  <a:lnTo>
                    <a:pt x="124" y="5"/>
                  </a:lnTo>
                  <a:lnTo>
                    <a:pt x="122" y="8"/>
                  </a:lnTo>
                  <a:lnTo>
                    <a:pt x="117" y="5"/>
                  </a:lnTo>
                  <a:lnTo>
                    <a:pt x="116" y="0"/>
                  </a:lnTo>
                  <a:lnTo>
                    <a:pt x="98" y="3"/>
                  </a:lnTo>
                  <a:lnTo>
                    <a:pt x="97" y="5"/>
                  </a:lnTo>
                  <a:lnTo>
                    <a:pt x="95" y="8"/>
                  </a:lnTo>
                  <a:lnTo>
                    <a:pt x="93" y="11"/>
                  </a:lnTo>
                  <a:lnTo>
                    <a:pt x="93" y="15"/>
                  </a:lnTo>
                  <a:lnTo>
                    <a:pt x="93" y="23"/>
                  </a:lnTo>
                  <a:lnTo>
                    <a:pt x="93" y="30"/>
                  </a:lnTo>
                  <a:lnTo>
                    <a:pt x="88" y="49"/>
                  </a:lnTo>
                  <a:lnTo>
                    <a:pt x="95" y="56"/>
                  </a:lnTo>
                  <a:lnTo>
                    <a:pt x="104" y="56"/>
                  </a:lnTo>
                  <a:lnTo>
                    <a:pt x="105" y="69"/>
                  </a:lnTo>
                  <a:lnTo>
                    <a:pt x="102" y="68"/>
                  </a:lnTo>
                  <a:lnTo>
                    <a:pt x="98" y="69"/>
                  </a:lnTo>
                  <a:lnTo>
                    <a:pt x="93" y="68"/>
                  </a:lnTo>
                  <a:lnTo>
                    <a:pt x="87" y="63"/>
                  </a:lnTo>
                  <a:lnTo>
                    <a:pt x="83" y="56"/>
                  </a:lnTo>
                  <a:lnTo>
                    <a:pt x="73" y="52"/>
                  </a:lnTo>
                  <a:lnTo>
                    <a:pt x="68" y="49"/>
                  </a:lnTo>
                  <a:lnTo>
                    <a:pt x="58" y="51"/>
                  </a:lnTo>
                  <a:lnTo>
                    <a:pt x="46" y="46"/>
                  </a:lnTo>
                  <a:lnTo>
                    <a:pt x="42" y="39"/>
                  </a:lnTo>
                  <a:lnTo>
                    <a:pt x="34" y="42"/>
                  </a:lnTo>
                  <a:lnTo>
                    <a:pt x="30" y="35"/>
                  </a:lnTo>
                  <a:lnTo>
                    <a:pt x="27" y="37"/>
                  </a:lnTo>
                  <a:lnTo>
                    <a:pt x="25" y="63"/>
                  </a:lnTo>
                  <a:lnTo>
                    <a:pt x="29" y="66"/>
                  </a:lnTo>
                  <a:lnTo>
                    <a:pt x="18" y="66"/>
                  </a:lnTo>
                  <a:lnTo>
                    <a:pt x="8" y="66"/>
                  </a:lnTo>
                  <a:lnTo>
                    <a:pt x="0" y="66"/>
                  </a:lnTo>
                  <a:lnTo>
                    <a:pt x="0" y="76"/>
                  </a:lnTo>
                  <a:lnTo>
                    <a:pt x="0" y="87"/>
                  </a:lnTo>
                  <a:lnTo>
                    <a:pt x="0" y="100"/>
                  </a:lnTo>
                  <a:lnTo>
                    <a:pt x="0" y="117"/>
                  </a:lnTo>
                  <a:lnTo>
                    <a:pt x="15" y="131"/>
                  </a:lnTo>
                  <a:lnTo>
                    <a:pt x="29" y="129"/>
                  </a:lnTo>
                  <a:lnTo>
                    <a:pt x="37" y="129"/>
                  </a:lnTo>
                  <a:lnTo>
                    <a:pt x="42" y="134"/>
                  </a:lnTo>
                  <a:lnTo>
                    <a:pt x="52" y="136"/>
                  </a:lnTo>
                  <a:lnTo>
                    <a:pt x="59" y="136"/>
                  </a:lnTo>
                  <a:lnTo>
                    <a:pt x="63" y="138"/>
                  </a:lnTo>
                  <a:lnTo>
                    <a:pt x="64" y="138"/>
                  </a:lnTo>
                  <a:lnTo>
                    <a:pt x="66" y="136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:a16="http://schemas.microsoft.com/office/drawing/2014/main" id="{FB6FA0E8-9CA3-CC4A-AD5F-C4E3ED6E2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580" y="2730588"/>
              <a:ext cx="77657" cy="116059"/>
            </a:xfrm>
            <a:custGeom>
              <a:avLst/>
              <a:gdLst/>
              <a:ahLst/>
              <a:cxnLst>
                <a:cxn ang="0">
                  <a:pos x="65" y="29"/>
                </a:cxn>
                <a:cxn ang="0">
                  <a:pos x="78" y="16"/>
                </a:cxn>
                <a:cxn ang="0">
                  <a:pos x="88" y="19"/>
                </a:cxn>
                <a:cxn ang="0">
                  <a:pos x="105" y="16"/>
                </a:cxn>
                <a:cxn ang="0">
                  <a:pos x="116" y="12"/>
                </a:cxn>
                <a:cxn ang="0">
                  <a:pos x="123" y="12"/>
                </a:cxn>
                <a:cxn ang="0">
                  <a:pos x="143" y="2"/>
                </a:cxn>
                <a:cxn ang="0">
                  <a:pos x="145" y="2"/>
                </a:cxn>
                <a:cxn ang="0">
                  <a:pos x="146" y="9"/>
                </a:cxn>
                <a:cxn ang="0">
                  <a:pos x="143" y="34"/>
                </a:cxn>
                <a:cxn ang="0">
                  <a:pos x="143" y="38"/>
                </a:cxn>
                <a:cxn ang="0">
                  <a:pos x="145" y="53"/>
                </a:cxn>
                <a:cxn ang="0">
                  <a:pos x="145" y="57"/>
                </a:cxn>
                <a:cxn ang="0">
                  <a:pos x="146" y="60"/>
                </a:cxn>
                <a:cxn ang="0">
                  <a:pos x="145" y="68"/>
                </a:cxn>
                <a:cxn ang="0">
                  <a:pos x="136" y="80"/>
                </a:cxn>
                <a:cxn ang="0">
                  <a:pos x="133" y="84"/>
                </a:cxn>
                <a:cxn ang="0">
                  <a:pos x="124" y="91"/>
                </a:cxn>
                <a:cxn ang="0">
                  <a:pos x="112" y="96"/>
                </a:cxn>
                <a:cxn ang="0">
                  <a:pos x="94" y="108"/>
                </a:cxn>
                <a:cxn ang="0">
                  <a:pos x="88" y="111"/>
                </a:cxn>
                <a:cxn ang="0">
                  <a:pos x="85" y="120"/>
                </a:cxn>
                <a:cxn ang="0">
                  <a:pos x="83" y="118"/>
                </a:cxn>
                <a:cxn ang="0">
                  <a:pos x="66" y="135"/>
                </a:cxn>
                <a:cxn ang="0">
                  <a:pos x="63" y="145"/>
                </a:cxn>
                <a:cxn ang="0">
                  <a:pos x="73" y="169"/>
                </a:cxn>
                <a:cxn ang="0">
                  <a:pos x="75" y="169"/>
                </a:cxn>
                <a:cxn ang="0">
                  <a:pos x="71" y="195"/>
                </a:cxn>
                <a:cxn ang="0">
                  <a:pos x="75" y="193"/>
                </a:cxn>
                <a:cxn ang="0">
                  <a:pos x="68" y="205"/>
                </a:cxn>
                <a:cxn ang="0">
                  <a:pos x="49" y="213"/>
                </a:cxn>
                <a:cxn ang="0">
                  <a:pos x="34" y="225"/>
                </a:cxn>
                <a:cxn ang="0">
                  <a:pos x="39" y="227"/>
                </a:cxn>
                <a:cxn ang="0">
                  <a:pos x="27" y="237"/>
                </a:cxn>
                <a:cxn ang="0">
                  <a:pos x="25" y="200"/>
                </a:cxn>
                <a:cxn ang="0">
                  <a:pos x="22" y="167"/>
                </a:cxn>
                <a:cxn ang="0">
                  <a:pos x="39" y="137"/>
                </a:cxn>
                <a:cxn ang="0">
                  <a:pos x="41" y="111"/>
                </a:cxn>
                <a:cxn ang="0">
                  <a:pos x="39" y="87"/>
                </a:cxn>
                <a:cxn ang="0">
                  <a:pos x="18" y="79"/>
                </a:cxn>
                <a:cxn ang="0">
                  <a:pos x="3" y="74"/>
                </a:cxn>
                <a:cxn ang="0">
                  <a:pos x="10" y="62"/>
                </a:cxn>
                <a:cxn ang="0">
                  <a:pos x="34" y="55"/>
                </a:cxn>
                <a:cxn ang="0">
                  <a:pos x="49" y="58"/>
                </a:cxn>
                <a:cxn ang="0">
                  <a:pos x="63" y="58"/>
                </a:cxn>
                <a:cxn ang="0">
                  <a:pos x="59" y="77"/>
                </a:cxn>
                <a:cxn ang="0">
                  <a:pos x="71" y="91"/>
                </a:cxn>
                <a:cxn ang="0">
                  <a:pos x="73" y="94"/>
                </a:cxn>
                <a:cxn ang="0">
                  <a:pos x="71" y="85"/>
                </a:cxn>
                <a:cxn ang="0">
                  <a:pos x="80" y="79"/>
                </a:cxn>
                <a:cxn ang="0">
                  <a:pos x="80" y="67"/>
                </a:cxn>
                <a:cxn ang="0">
                  <a:pos x="80" y="58"/>
                </a:cxn>
              </a:cxnLst>
              <a:rect l="0" t="0" r="r" b="b"/>
              <a:pathLst>
                <a:path w="147" h="238">
                  <a:moveTo>
                    <a:pt x="66" y="43"/>
                  </a:moveTo>
                  <a:lnTo>
                    <a:pt x="65" y="29"/>
                  </a:lnTo>
                  <a:lnTo>
                    <a:pt x="68" y="16"/>
                  </a:lnTo>
                  <a:lnTo>
                    <a:pt x="78" y="16"/>
                  </a:lnTo>
                  <a:lnTo>
                    <a:pt x="83" y="16"/>
                  </a:lnTo>
                  <a:lnTo>
                    <a:pt x="88" y="19"/>
                  </a:lnTo>
                  <a:lnTo>
                    <a:pt x="95" y="16"/>
                  </a:lnTo>
                  <a:lnTo>
                    <a:pt x="105" y="16"/>
                  </a:lnTo>
                  <a:lnTo>
                    <a:pt x="109" y="12"/>
                  </a:lnTo>
                  <a:lnTo>
                    <a:pt x="116" y="12"/>
                  </a:lnTo>
                  <a:lnTo>
                    <a:pt x="119" y="14"/>
                  </a:lnTo>
                  <a:lnTo>
                    <a:pt x="123" y="12"/>
                  </a:lnTo>
                  <a:lnTo>
                    <a:pt x="138" y="7"/>
                  </a:lnTo>
                  <a:lnTo>
                    <a:pt x="143" y="2"/>
                  </a:lnTo>
                  <a:lnTo>
                    <a:pt x="145" y="0"/>
                  </a:lnTo>
                  <a:lnTo>
                    <a:pt x="145" y="2"/>
                  </a:lnTo>
                  <a:lnTo>
                    <a:pt x="146" y="4"/>
                  </a:lnTo>
                  <a:lnTo>
                    <a:pt x="146" y="9"/>
                  </a:lnTo>
                  <a:lnTo>
                    <a:pt x="143" y="19"/>
                  </a:lnTo>
                  <a:lnTo>
                    <a:pt x="143" y="34"/>
                  </a:lnTo>
                  <a:lnTo>
                    <a:pt x="141" y="34"/>
                  </a:lnTo>
                  <a:lnTo>
                    <a:pt x="143" y="38"/>
                  </a:lnTo>
                  <a:lnTo>
                    <a:pt x="143" y="53"/>
                  </a:lnTo>
                  <a:lnTo>
                    <a:pt x="145" y="53"/>
                  </a:lnTo>
                  <a:lnTo>
                    <a:pt x="146" y="55"/>
                  </a:lnTo>
                  <a:lnTo>
                    <a:pt x="145" y="57"/>
                  </a:lnTo>
                  <a:lnTo>
                    <a:pt x="146" y="58"/>
                  </a:lnTo>
                  <a:lnTo>
                    <a:pt x="146" y="60"/>
                  </a:lnTo>
                  <a:lnTo>
                    <a:pt x="143" y="67"/>
                  </a:lnTo>
                  <a:lnTo>
                    <a:pt x="145" y="68"/>
                  </a:lnTo>
                  <a:lnTo>
                    <a:pt x="143" y="72"/>
                  </a:lnTo>
                  <a:lnTo>
                    <a:pt x="136" y="80"/>
                  </a:lnTo>
                  <a:lnTo>
                    <a:pt x="133" y="82"/>
                  </a:lnTo>
                  <a:lnTo>
                    <a:pt x="133" y="84"/>
                  </a:lnTo>
                  <a:lnTo>
                    <a:pt x="133" y="85"/>
                  </a:lnTo>
                  <a:lnTo>
                    <a:pt x="124" y="91"/>
                  </a:lnTo>
                  <a:lnTo>
                    <a:pt x="123" y="94"/>
                  </a:lnTo>
                  <a:lnTo>
                    <a:pt x="112" y="96"/>
                  </a:lnTo>
                  <a:lnTo>
                    <a:pt x="100" y="103"/>
                  </a:lnTo>
                  <a:lnTo>
                    <a:pt x="94" y="108"/>
                  </a:lnTo>
                  <a:lnTo>
                    <a:pt x="94" y="109"/>
                  </a:lnTo>
                  <a:lnTo>
                    <a:pt x="88" y="111"/>
                  </a:lnTo>
                  <a:lnTo>
                    <a:pt x="90" y="113"/>
                  </a:lnTo>
                  <a:lnTo>
                    <a:pt x="85" y="120"/>
                  </a:lnTo>
                  <a:lnTo>
                    <a:pt x="83" y="120"/>
                  </a:lnTo>
                  <a:lnTo>
                    <a:pt x="83" y="118"/>
                  </a:lnTo>
                  <a:lnTo>
                    <a:pt x="82" y="121"/>
                  </a:lnTo>
                  <a:lnTo>
                    <a:pt x="66" y="135"/>
                  </a:lnTo>
                  <a:lnTo>
                    <a:pt x="63" y="135"/>
                  </a:lnTo>
                  <a:lnTo>
                    <a:pt x="63" y="145"/>
                  </a:lnTo>
                  <a:lnTo>
                    <a:pt x="68" y="150"/>
                  </a:lnTo>
                  <a:lnTo>
                    <a:pt x="73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84"/>
                  </a:lnTo>
                  <a:lnTo>
                    <a:pt x="71" y="195"/>
                  </a:lnTo>
                  <a:lnTo>
                    <a:pt x="71" y="198"/>
                  </a:lnTo>
                  <a:lnTo>
                    <a:pt x="75" y="193"/>
                  </a:lnTo>
                  <a:lnTo>
                    <a:pt x="73" y="198"/>
                  </a:lnTo>
                  <a:lnTo>
                    <a:pt x="68" y="205"/>
                  </a:lnTo>
                  <a:lnTo>
                    <a:pt x="65" y="208"/>
                  </a:lnTo>
                  <a:lnTo>
                    <a:pt x="49" y="213"/>
                  </a:lnTo>
                  <a:lnTo>
                    <a:pt x="37" y="220"/>
                  </a:lnTo>
                  <a:lnTo>
                    <a:pt x="34" y="225"/>
                  </a:lnTo>
                  <a:lnTo>
                    <a:pt x="37" y="230"/>
                  </a:lnTo>
                  <a:lnTo>
                    <a:pt x="39" y="227"/>
                  </a:lnTo>
                  <a:lnTo>
                    <a:pt x="39" y="237"/>
                  </a:lnTo>
                  <a:lnTo>
                    <a:pt x="27" y="237"/>
                  </a:lnTo>
                  <a:lnTo>
                    <a:pt x="27" y="222"/>
                  </a:lnTo>
                  <a:lnTo>
                    <a:pt x="25" y="200"/>
                  </a:lnTo>
                  <a:lnTo>
                    <a:pt x="20" y="174"/>
                  </a:lnTo>
                  <a:lnTo>
                    <a:pt x="22" y="167"/>
                  </a:lnTo>
                  <a:lnTo>
                    <a:pt x="29" y="162"/>
                  </a:lnTo>
                  <a:lnTo>
                    <a:pt x="39" y="137"/>
                  </a:lnTo>
                  <a:lnTo>
                    <a:pt x="37" y="121"/>
                  </a:lnTo>
                  <a:lnTo>
                    <a:pt x="41" y="111"/>
                  </a:lnTo>
                  <a:lnTo>
                    <a:pt x="41" y="99"/>
                  </a:lnTo>
                  <a:lnTo>
                    <a:pt x="39" y="87"/>
                  </a:lnTo>
                  <a:lnTo>
                    <a:pt x="36" y="85"/>
                  </a:lnTo>
                  <a:lnTo>
                    <a:pt x="18" y="79"/>
                  </a:lnTo>
                  <a:lnTo>
                    <a:pt x="3" y="79"/>
                  </a:lnTo>
                  <a:lnTo>
                    <a:pt x="3" y="74"/>
                  </a:lnTo>
                  <a:lnTo>
                    <a:pt x="0" y="65"/>
                  </a:lnTo>
                  <a:lnTo>
                    <a:pt x="10" y="62"/>
                  </a:lnTo>
                  <a:lnTo>
                    <a:pt x="22" y="58"/>
                  </a:lnTo>
                  <a:lnTo>
                    <a:pt x="34" y="55"/>
                  </a:lnTo>
                  <a:lnTo>
                    <a:pt x="44" y="51"/>
                  </a:lnTo>
                  <a:lnTo>
                    <a:pt x="49" y="58"/>
                  </a:lnTo>
                  <a:lnTo>
                    <a:pt x="59" y="57"/>
                  </a:lnTo>
                  <a:lnTo>
                    <a:pt x="63" y="58"/>
                  </a:lnTo>
                  <a:lnTo>
                    <a:pt x="63" y="68"/>
                  </a:lnTo>
                  <a:lnTo>
                    <a:pt x="59" y="77"/>
                  </a:lnTo>
                  <a:lnTo>
                    <a:pt x="61" y="82"/>
                  </a:lnTo>
                  <a:lnTo>
                    <a:pt x="71" y="91"/>
                  </a:lnTo>
                  <a:lnTo>
                    <a:pt x="70" y="94"/>
                  </a:lnTo>
                  <a:lnTo>
                    <a:pt x="73" y="94"/>
                  </a:lnTo>
                  <a:lnTo>
                    <a:pt x="73" y="91"/>
                  </a:lnTo>
                  <a:lnTo>
                    <a:pt x="71" y="85"/>
                  </a:lnTo>
                  <a:lnTo>
                    <a:pt x="73" y="82"/>
                  </a:lnTo>
                  <a:lnTo>
                    <a:pt x="80" y="79"/>
                  </a:lnTo>
                  <a:lnTo>
                    <a:pt x="82" y="70"/>
                  </a:lnTo>
                  <a:lnTo>
                    <a:pt x="80" y="67"/>
                  </a:lnTo>
                  <a:lnTo>
                    <a:pt x="82" y="63"/>
                  </a:lnTo>
                  <a:lnTo>
                    <a:pt x="80" y="58"/>
                  </a:lnTo>
                  <a:lnTo>
                    <a:pt x="66" y="43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8" name="Freeform 64">
              <a:extLst>
                <a:ext uri="{FF2B5EF4-FFF2-40B4-BE49-F238E27FC236}">
                  <a16:creationId xmlns:a16="http://schemas.microsoft.com/office/drawing/2014/main" id="{6B531261-D22D-AD4C-8585-F80CA7B510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126" y="2724248"/>
              <a:ext cx="24301" cy="52665"/>
            </a:xfrm>
            <a:custGeom>
              <a:avLst/>
              <a:gdLst/>
              <a:ahLst/>
              <a:cxnLst>
                <a:cxn ang="0">
                  <a:pos x="29" y="56"/>
                </a:cxn>
                <a:cxn ang="0">
                  <a:pos x="29" y="59"/>
                </a:cxn>
                <a:cxn ang="0">
                  <a:pos x="33" y="61"/>
                </a:cxn>
                <a:cxn ang="0">
                  <a:pos x="34" y="70"/>
                </a:cxn>
                <a:cxn ang="0">
                  <a:pos x="29" y="64"/>
                </a:cxn>
                <a:cxn ang="0">
                  <a:pos x="29" y="66"/>
                </a:cxn>
                <a:cxn ang="0">
                  <a:pos x="26" y="66"/>
                </a:cxn>
                <a:cxn ang="0">
                  <a:pos x="26" y="59"/>
                </a:cxn>
                <a:cxn ang="0">
                  <a:pos x="22" y="58"/>
                </a:cxn>
                <a:cxn ang="0">
                  <a:pos x="21" y="46"/>
                </a:cxn>
                <a:cxn ang="0">
                  <a:pos x="17" y="41"/>
                </a:cxn>
                <a:cxn ang="0">
                  <a:pos x="22" y="32"/>
                </a:cxn>
                <a:cxn ang="0">
                  <a:pos x="21" y="13"/>
                </a:cxn>
                <a:cxn ang="0">
                  <a:pos x="17" y="6"/>
                </a:cxn>
                <a:cxn ang="0">
                  <a:pos x="17" y="3"/>
                </a:cxn>
                <a:cxn ang="0">
                  <a:pos x="16" y="1"/>
                </a:cxn>
                <a:cxn ang="0">
                  <a:pos x="10" y="3"/>
                </a:cxn>
                <a:cxn ang="0">
                  <a:pos x="4" y="0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9" y="5"/>
                </a:cxn>
                <a:cxn ang="0">
                  <a:pos x="14" y="17"/>
                </a:cxn>
                <a:cxn ang="0">
                  <a:pos x="10" y="20"/>
                </a:cxn>
                <a:cxn ang="0">
                  <a:pos x="9" y="29"/>
                </a:cxn>
                <a:cxn ang="0">
                  <a:pos x="9" y="39"/>
                </a:cxn>
                <a:cxn ang="0">
                  <a:pos x="10" y="42"/>
                </a:cxn>
                <a:cxn ang="0">
                  <a:pos x="5" y="46"/>
                </a:cxn>
                <a:cxn ang="0">
                  <a:pos x="4" y="52"/>
                </a:cxn>
                <a:cxn ang="0">
                  <a:pos x="0" y="59"/>
                </a:cxn>
                <a:cxn ang="0">
                  <a:pos x="4" y="63"/>
                </a:cxn>
                <a:cxn ang="0">
                  <a:pos x="7" y="64"/>
                </a:cxn>
                <a:cxn ang="0">
                  <a:pos x="12" y="71"/>
                </a:cxn>
                <a:cxn ang="0">
                  <a:pos x="22" y="70"/>
                </a:cxn>
                <a:cxn ang="0">
                  <a:pos x="26" y="71"/>
                </a:cxn>
                <a:cxn ang="0">
                  <a:pos x="26" y="81"/>
                </a:cxn>
                <a:cxn ang="0">
                  <a:pos x="22" y="90"/>
                </a:cxn>
                <a:cxn ang="0">
                  <a:pos x="24" y="95"/>
                </a:cxn>
                <a:cxn ang="0">
                  <a:pos x="34" y="104"/>
                </a:cxn>
                <a:cxn ang="0">
                  <a:pos x="33" y="107"/>
                </a:cxn>
                <a:cxn ang="0">
                  <a:pos x="36" y="107"/>
                </a:cxn>
                <a:cxn ang="0">
                  <a:pos x="36" y="104"/>
                </a:cxn>
                <a:cxn ang="0">
                  <a:pos x="34" y="98"/>
                </a:cxn>
                <a:cxn ang="0">
                  <a:pos x="36" y="95"/>
                </a:cxn>
                <a:cxn ang="0">
                  <a:pos x="43" y="92"/>
                </a:cxn>
                <a:cxn ang="0">
                  <a:pos x="45" y="83"/>
                </a:cxn>
                <a:cxn ang="0">
                  <a:pos x="43" y="80"/>
                </a:cxn>
                <a:cxn ang="0">
                  <a:pos x="45" y="76"/>
                </a:cxn>
                <a:cxn ang="0">
                  <a:pos x="43" y="71"/>
                </a:cxn>
                <a:cxn ang="0">
                  <a:pos x="29" y="56"/>
                </a:cxn>
              </a:cxnLst>
              <a:rect l="0" t="0" r="r" b="b"/>
              <a:pathLst>
                <a:path w="46" h="108">
                  <a:moveTo>
                    <a:pt x="29" y="56"/>
                  </a:moveTo>
                  <a:lnTo>
                    <a:pt x="29" y="59"/>
                  </a:lnTo>
                  <a:lnTo>
                    <a:pt x="33" y="61"/>
                  </a:lnTo>
                  <a:lnTo>
                    <a:pt x="34" y="70"/>
                  </a:lnTo>
                  <a:lnTo>
                    <a:pt x="29" y="64"/>
                  </a:lnTo>
                  <a:lnTo>
                    <a:pt x="29" y="66"/>
                  </a:lnTo>
                  <a:lnTo>
                    <a:pt x="26" y="66"/>
                  </a:lnTo>
                  <a:lnTo>
                    <a:pt x="26" y="59"/>
                  </a:lnTo>
                  <a:lnTo>
                    <a:pt x="22" y="58"/>
                  </a:lnTo>
                  <a:lnTo>
                    <a:pt x="21" y="46"/>
                  </a:lnTo>
                  <a:lnTo>
                    <a:pt x="17" y="41"/>
                  </a:lnTo>
                  <a:lnTo>
                    <a:pt x="22" y="32"/>
                  </a:lnTo>
                  <a:lnTo>
                    <a:pt x="21" y="13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6" y="1"/>
                  </a:lnTo>
                  <a:lnTo>
                    <a:pt x="10" y="3"/>
                  </a:lnTo>
                  <a:lnTo>
                    <a:pt x="4" y="0"/>
                  </a:lnTo>
                  <a:lnTo>
                    <a:pt x="5" y="3"/>
                  </a:lnTo>
                  <a:lnTo>
                    <a:pt x="7" y="3"/>
                  </a:lnTo>
                  <a:lnTo>
                    <a:pt x="9" y="5"/>
                  </a:lnTo>
                  <a:lnTo>
                    <a:pt x="14" y="17"/>
                  </a:lnTo>
                  <a:lnTo>
                    <a:pt x="10" y="20"/>
                  </a:lnTo>
                  <a:lnTo>
                    <a:pt x="9" y="29"/>
                  </a:lnTo>
                  <a:lnTo>
                    <a:pt x="9" y="39"/>
                  </a:lnTo>
                  <a:lnTo>
                    <a:pt x="10" y="42"/>
                  </a:lnTo>
                  <a:lnTo>
                    <a:pt x="5" y="46"/>
                  </a:lnTo>
                  <a:lnTo>
                    <a:pt x="4" y="52"/>
                  </a:lnTo>
                  <a:lnTo>
                    <a:pt x="0" y="59"/>
                  </a:lnTo>
                  <a:lnTo>
                    <a:pt x="4" y="63"/>
                  </a:lnTo>
                  <a:lnTo>
                    <a:pt x="7" y="64"/>
                  </a:lnTo>
                  <a:lnTo>
                    <a:pt x="12" y="71"/>
                  </a:lnTo>
                  <a:lnTo>
                    <a:pt x="22" y="70"/>
                  </a:lnTo>
                  <a:lnTo>
                    <a:pt x="26" y="71"/>
                  </a:lnTo>
                  <a:lnTo>
                    <a:pt x="26" y="81"/>
                  </a:lnTo>
                  <a:lnTo>
                    <a:pt x="22" y="90"/>
                  </a:lnTo>
                  <a:lnTo>
                    <a:pt x="24" y="95"/>
                  </a:lnTo>
                  <a:lnTo>
                    <a:pt x="34" y="104"/>
                  </a:lnTo>
                  <a:lnTo>
                    <a:pt x="33" y="107"/>
                  </a:lnTo>
                  <a:lnTo>
                    <a:pt x="36" y="107"/>
                  </a:lnTo>
                  <a:lnTo>
                    <a:pt x="36" y="104"/>
                  </a:lnTo>
                  <a:lnTo>
                    <a:pt x="34" y="98"/>
                  </a:lnTo>
                  <a:lnTo>
                    <a:pt x="36" y="95"/>
                  </a:lnTo>
                  <a:lnTo>
                    <a:pt x="43" y="92"/>
                  </a:lnTo>
                  <a:lnTo>
                    <a:pt x="45" y="83"/>
                  </a:lnTo>
                  <a:lnTo>
                    <a:pt x="43" y="80"/>
                  </a:lnTo>
                  <a:lnTo>
                    <a:pt x="45" y="76"/>
                  </a:lnTo>
                  <a:lnTo>
                    <a:pt x="43" y="71"/>
                  </a:lnTo>
                  <a:lnTo>
                    <a:pt x="29" y="56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Freeform 65">
              <a:extLst>
                <a:ext uri="{FF2B5EF4-FFF2-40B4-BE49-F238E27FC236}">
                  <a16:creationId xmlns:a16="http://schemas.microsoft.com/office/drawing/2014/main" id="{A21BEE13-4696-3D46-8C73-9453877C6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9107" y="2630133"/>
              <a:ext cx="58639" cy="61930"/>
            </a:xfrm>
            <a:custGeom>
              <a:avLst/>
              <a:gdLst/>
              <a:ahLst/>
              <a:cxnLst>
                <a:cxn ang="0">
                  <a:pos x="4" y="77"/>
                </a:cxn>
                <a:cxn ang="0">
                  <a:pos x="2" y="73"/>
                </a:cxn>
                <a:cxn ang="0">
                  <a:pos x="4" y="70"/>
                </a:cxn>
                <a:cxn ang="0">
                  <a:pos x="7" y="70"/>
                </a:cxn>
                <a:cxn ang="0">
                  <a:pos x="9" y="68"/>
                </a:cxn>
                <a:cxn ang="0">
                  <a:pos x="12" y="68"/>
                </a:cxn>
                <a:cxn ang="0">
                  <a:pos x="12" y="66"/>
                </a:cxn>
                <a:cxn ang="0">
                  <a:pos x="9" y="66"/>
                </a:cxn>
                <a:cxn ang="0">
                  <a:pos x="7" y="66"/>
                </a:cxn>
                <a:cxn ang="0">
                  <a:pos x="5" y="68"/>
                </a:cxn>
                <a:cxn ang="0">
                  <a:pos x="4" y="68"/>
                </a:cxn>
                <a:cxn ang="0">
                  <a:pos x="2" y="66"/>
                </a:cxn>
                <a:cxn ang="0">
                  <a:pos x="0" y="63"/>
                </a:cxn>
                <a:cxn ang="0">
                  <a:pos x="0" y="60"/>
                </a:cxn>
                <a:cxn ang="0">
                  <a:pos x="14" y="43"/>
                </a:cxn>
                <a:cxn ang="0">
                  <a:pos x="16" y="34"/>
                </a:cxn>
                <a:cxn ang="0">
                  <a:pos x="14" y="26"/>
                </a:cxn>
                <a:cxn ang="0">
                  <a:pos x="9" y="20"/>
                </a:cxn>
                <a:cxn ang="0">
                  <a:pos x="5" y="10"/>
                </a:cxn>
                <a:cxn ang="0">
                  <a:pos x="0" y="7"/>
                </a:cxn>
                <a:cxn ang="0">
                  <a:pos x="7" y="0"/>
                </a:cxn>
                <a:cxn ang="0">
                  <a:pos x="26" y="0"/>
                </a:cxn>
                <a:cxn ang="0">
                  <a:pos x="38" y="2"/>
                </a:cxn>
                <a:cxn ang="0">
                  <a:pos x="55" y="12"/>
                </a:cxn>
                <a:cxn ang="0">
                  <a:pos x="69" y="15"/>
                </a:cxn>
                <a:cxn ang="0">
                  <a:pos x="75" y="15"/>
                </a:cxn>
                <a:cxn ang="0">
                  <a:pos x="80" y="12"/>
                </a:cxn>
                <a:cxn ang="0">
                  <a:pos x="86" y="8"/>
                </a:cxn>
                <a:cxn ang="0">
                  <a:pos x="94" y="5"/>
                </a:cxn>
                <a:cxn ang="0">
                  <a:pos x="103" y="10"/>
                </a:cxn>
                <a:cxn ang="0">
                  <a:pos x="110" y="10"/>
                </a:cxn>
                <a:cxn ang="0">
                  <a:pos x="104" y="19"/>
                </a:cxn>
                <a:cxn ang="0">
                  <a:pos x="98" y="26"/>
                </a:cxn>
                <a:cxn ang="0">
                  <a:pos x="98" y="37"/>
                </a:cxn>
                <a:cxn ang="0">
                  <a:pos x="98" y="49"/>
                </a:cxn>
                <a:cxn ang="0">
                  <a:pos x="98" y="63"/>
                </a:cxn>
                <a:cxn ang="0">
                  <a:pos x="98" y="75"/>
                </a:cxn>
                <a:cxn ang="0">
                  <a:pos x="104" y="85"/>
                </a:cxn>
                <a:cxn ang="0">
                  <a:pos x="101" y="89"/>
                </a:cxn>
                <a:cxn ang="0">
                  <a:pos x="98" y="90"/>
                </a:cxn>
                <a:cxn ang="0">
                  <a:pos x="96" y="95"/>
                </a:cxn>
                <a:cxn ang="0">
                  <a:pos x="91" y="99"/>
                </a:cxn>
                <a:cxn ang="0">
                  <a:pos x="89" y="101"/>
                </a:cxn>
                <a:cxn ang="0">
                  <a:pos x="79" y="123"/>
                </a:cxn>
                <a:cxn ang="0">
                  <a:pos x="75" y="126"/>
                </a:cxn>
                <a:cxn ang="0">
                  <a:pos x="55" y="114"/>
                </a:cxn>
                <a:cxn ang="0">
                  <a:pos x="53" y="104"/>
                </a:cxn>
                <a:cxn ang="0">
                  <a:pos x="4" y="77"/>
                </a:cxn>
              </a:cxnLst>
              <a:rect l="0" t="0" r="r" b="b"/>
              <a:pathLst>
                <a:path w="111" h="127">
                  <a:moveTo>
                    <a:pt x="4" y="77"/>
                  </a:moveTo>
                  <a:lnTo>
                    <a:pt x="2" y="73"/>
                  </a:lnTo>
                  <a:lnTo>
                    <a:pt x="4" y="70"/>
                  </a:lnTo>
                  <a:lnTo>
                    <a:pt x="7" y="70"/>
                  </a:lnTo>
                  <a:lnTo>
                    <a:pt x="9" y="68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9" y="66"/>
                  </a:lnTo>
                  <a:lnTo>
                    <a:pt x="7" y="66"/>
                  </a:lnTo>
                  <a:lnTo>
                    <a:pt x="5" y="68"/>
                  </a:lnTo>
                  <a:lnTo>
                    <a:pt x="4" y="68"/>
                  </a:lnTo>
                  <a:lnTo>
                    <a:pt x="2" y="66"/>
                  </a:lnTo>
                  <a:lnTo>
                    <a:pt x="0" y="63"/>
                  </a:lnTo>
                  <a:lnTo>
                    <a:pt x="0" y="60"/>
                  </a:lnTo>
                  <a:lnTo>
                    <a:pt x="14" y="43"/>
                  </a:lnTo>
                  <a:lnTo>
                    <a:pt x="16" y="34"/>
                  </a:lnTo>
                  <a:lnTo>
                    <a:pt x="14" y="26"/>
                  </a:lnTo>
                  <a:lnTo>
                    <a:pt x="9" y="20"/>
                  </a:lnTo>
                  <a:lnTo>
                    <a:pt x="5" y="10"/>
                  </a:lnTo>
                  <a:lnTo>
                    <a:pt x="0" y="7"/>
                  </a:lnTo>
                  <a:lnTo>
                    <a:pt x="7" y="0"/>
                  </a:lnTo>
                  <a:lnTo>
                    <a:pt x="26" y="0"/>
                  </a:lnTo>
                  <a:lnTo>
                    <a:pt x="38" y="2"/>
                  </a:lnTo>
                  <a:lnTo>
                    <a:pt x="55" y="12"/>
                  </a:lnTo>
                  <a:lnTo>
                    <a:pt x="69" y="15"/>
                  </a:lnTo>
                  <a:lnTo>
                    <a:pt x="75" y="15"/>
                  </a:lnTo>
                  <a:lnTo>
                    <a:pt x="80" y="12"/>
                  </a:lnTo>
                  <a:lnTo>
                    <a:pt x="86" y="8"/>
                  </a:lnTo>
                  <a:lnTo>
                    <a:pt x="94" y="5"/>
                  </a:lnTo>
                  <a:lnTo>
                    <a:pt x="103" y="10"/>
                  </a:lnTo>
                  <a:lnTo>
                    <a:pt x="110" y="10"/>
                  </a:lnTo>
                  <a:lnTo>
                    <a:pt x="104" y="19"/>
                  </a:lnTo>
                  <a:lnTo>
                    <a:pt x="98" y="26"/>
                  </a:lnTo>
                  <a:lnTo>
                    <a:pt x="98" y="37"/>
                  </a:lnTo>
                  <a:lnTo>
                    <a:pt x="98" y="49"/>
                  </a:lnTo>
                  <a:lnTo>
                    <a:pt x="98" y="63"/>
                  </a:lnTo>
                  <a:lnTo>
                    <a:pt x="98" y="75"/>
                  </a:lnTo>
                  <a:lnTo>
                    <a:pt x="104" y="85"/>
                  </a:lnTo>
                  <a:lnTo>
                    <a:pt x="101" y="89"/>
                  </a:lnTo>
                  <a:lnTo>
                    <a:pt x="98" y="90"/>
                  </a:lnTo>
                  <a:lnTo>
                    <a:pt x="96" y="95"/>
                  </a:lnTo>
                  <a:lnTo>
                    <a:pt x="91" y="99"/>
                  </a:lnTo>
                  <a:lnTo>
                    <a:pt x="89" y="101"/>
                  </a:lnTo>
                  <a:lnTo>
                    <a:pt x="79" y="123"/>
                  </a:lnTo>
                  <a:lnTo>
                    <a:pt x="75" y="126"/>
                  </a:lnTo>
                  <a:lnTo>
                    <a:pt x="55" y="114"/>
                  </a:lnTo>
                  <a:lnTo>
                    <a:pt x="53" y="104"/>
                  </a:lnTo>
                  <a:lnTo>
                    <a:pt x="4" y="77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Freeform 66">
              <a:extLst>
                <a:ext uri="{FF2B5EF4-FFF2-40B4-BE49-F238E27FC236}">
                  <a16:creationId xmlns:a16="http://schemas.microsoft.com/office/drawing/2014/main" id="{EFC30185-4F13-7340-944D-F26747009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7938" y="2667682"/>
              <a:ext cx="79770" cy="72658"/>
            </a:xfrm>
            <a:custGeom>
              <a:avLst/>
              <a:gdLst/>
              <a:ahLst/>
              <a:cxnLst>
                <a:cxn ang="0">
                  <a:pos x="13" y="87"/>
                </a:cxn>
                <a:cxn ang="0">
                  <a:pos x="8" y="76"/>
                </a:cxn>
                <a:cxn ang="0">
                  <a:pos x="1" y="70"/>
                </a:cxn>
                <a:cxn ang="0">
                  <a:pos x="3" y="58"/>
                </a:cxn>
                <a:cxn ang="0">
                  <a:pos x="0" y="46"/>
                </a:cxn>
                <a:cxn ang="0">
                  <a:pos x="17" y="29"/>
                </a:cxn>
                <a:cxn ang="0">
                  <a:pos x="12" y="24"/>
                </a:cxn>
                <a:cxn ang="0">
                  <a:pos x="18" y="12"/>
                </a:cxn>
                <a:cxn ang="0">
                  <a:pos x="30" y="0"/>
                </a:cxn>
                <a:cxn ang="0">
                  <a:pos x="29" y="8"/>
                </a:cxn>
                <a:cxn ang="0">
                  <a:pos x="30" y="20"/>
                </a:cxn>
                <a:cxn ang="0">
                  <a:pos x="30" y="24"/>
                </a:cxn>
                <a:cxn ang="0">
                  <a:pos x="34" y="20"/>
                </a:cxn>
                <a:cxn ang="0">
                  <a:pos x="35" y="18"/>
                </a:cxn>
                <a:cxn ang="0">
                  <a:pos x="37" y="18"/>
                </a:cxn>
                <a:cxn ang="0">
                  <a:pos x="42" y="22"/>
                </a:cxn>
                <a:cxn ang="0">
                  <a:pos x="44" y="25"/>
                </a:cxn>
                <a:cxn ang="0">
                  <a:pos x="46" y="22"/>
                </a:cxn>
                <a:cxn ang="0">
                  <a:pos x="51" y="20"/>
                </a:cxn>
                <a:cxn ang="0">
                  <a:pos x="54" y="18"/>
                </a:cxn>
                <a:cxn ang="0">
                  <a:pos x="56" y="15"/>
                </a:cxn>
                <a:cxn ang="0">
                  <a:pos x="51" y="15"/>
                </a:cxn>
                <a:cxn ang="0">
                  <a:pos x="54" y="12"/>
                </a:cxn>
                <a:cxn ang="0">
                  <a:pos x="54" y="10"/>
                </a:cxn>
                <a:cxn ang="0">
                  <a:pos x="58" y="8"/>
                </a:cxn>
                <a:cxn ang="0">
                  <a:pos x="59" y="6"/>
                </a:cxn>
                <a:cxn ang="0">
                  <a:pos x="61" y="5"/>
                </a:cxn>
                <a:cxn ang="0">
                  <a:pos x="59" y="1"/>
                </a:cxn>
                <a:cxn ang="0">
                  <a:pos x="63" y="0"/>
                </a:cxn>
                <a:cxn ang="0">
                  <a:pos x="114" y="37"/>
                </a:cxn>
                <a:cxn ang="0">
                  <a:pos x="128" y="70"/>
                </a:cxn>
                <a:cxn ang="0">
                  <a:pos x="138" y="83"/>
                </a:cxn>
                <a:cxn ang="0">
                  <a:pos x="136" y="95"/>
                </a:cxn>
                <a:cxn ang="0">
                  <a:pos x="134" y="99"/>
                </a:cxn>
                <a:cxn ang="0">
                  <a:pos x="136" y="107"/>
                </a:cxn>
                <a:cxn ang="0">
                  <a:pos x="141" y="124"/>
                </a:cxn>
                <a:cxn ang="0">
                  <a:pos x="148" y="131"/>
                </a:cxn>
                <a:cxn ang="0">
                  <a:pos x="128" y="141"/>
                </a:cxn>
                <a:cxn ang="0">
                  <a:pos x="121" y="141"/>
                </a:cxn>
                <a:cxn ang="0">
                  <a:pos x="110" y="145"/>
                </a:cxn>
                <a:cxn ang="0">
                  <a:pos x="93" y="148"/>
                </a:cxn>
                <a:cxn ang="0">
                  <a:pos x="83" y="145"/>
                </a:cxn>
                <a:cxn ang="0">
                  <a:pos x="70" y="139"/>
                </a:cxn>
                <a:cxn ang="0">
                  <a:pos x="63" y="119"/>
                </a:cxn>
                <a:cxn ang="0">
                  <a:pos x="59" y="119"/>
                </a:cxn>
                <a:cxn ang="0">
                  <a:pos x="52" y="119"/>
                </a:cxn>
                <a:cxn ang="0">
                  <a:pos x="30" y="109"/>
                </a:cxn>
                <a:cxn ang="0">
                  <a:pos x="20" y="104"/>
                </a:cxn>
              </a:cxnLst>
              <a:rect l="0" t="0" r="r" b="b"/>
              <a:pathLst>
                <a:path w="151" h="149">
                  <a:moveTo>
                    <a:pt x="20" y="104"/>
                  </a:moveTo>
                  <a:lnTo>
                    <a:pt x="13" y="87"/>
                  </a:lnTo>
                  <a:lnTo>
                    <a:pt x="13" y="82"/>
                  </a:lnTo>
                  <a:lnTo>
                    <a:pt x="8" y="76"/>
                  </a:lnTo>
                  <a:lnTo>
                    <a:pt x="3" y="73"/>
                  </a:lnTo>
                  <a:lnTo>
                    <a:pt x="1" y="70"/>
                  </a:lnTo>
                  <a:lnTo>
                    <a:pt x="5" y="68"/>
                  </a:lnTo>
                  <a:lnTo>
                    <a:pt x="3" y="58"/>
                  </a:lnTo>
                  <a:lnTo>
                    <a:pt x="1" y="54"/>
                  </a:lnTo>
                  <a:lnTo>
                    <a:pt x="0" y="46"/>
                  </a:lnTo>
                  <a:lnTo>
                    <a:pt x="8" y="44"/>
                  </a:lnTo>
                  <a:lnTo>
                    <a:pt x="17" y="29"/>
                  </a:lnTo>
                  <a:lnTo>
                    <a:pt x="17" y="25"/>
                  </a:lnTo>
                  <a:lnTo>
                    <a:pt x="12" y="24"/>
                  </a:lnTo>
                  <a:lnTo>
                    <a:pt x="15" y="18"/>
                  </a:lnTo>
                  <a:lnTo>
                    <a:pt x="18" y="12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0" y="5"/>
                  </a:lnTo>
                  <a:lnTo>
                    <a:pt x="29" y="8"/>
                  </a:lnTo>
                  <a:lnTo>
                    <a:pt x="29" y="13"/>
                  </a:lnTo>
                  <a:lnTo>
                    <a:pt x="30" y="20"/>
                  </a:lnTo>
                  <a:lnTo>
                    <a:pt x="30" y="22"/>
                  </a:lnTo>
                  <a:lnTo>
                    <a:pt x="30" y="24"/>
                  </a:lnTo>
                  <a:lnTo>
                    <a:pt x="34" y="24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7" y="18"/>
                  </a:lnTo>
                  <a:lnTo>
                    <a:pt x="41" y="20"/>
                  </a:lnTo>
                  <a:lnTo>
                    <a:pt x="42" y="22"/>
                  </a:lnTo>
                  <a:lnTo>
                    <a:pt x="44" y="20"/>
                  </a:lnTo>
                  <a:lnTo>
                    <a:pt x="44" y="25"/>
                  </a:lnTo>
                  <a:lnTo>
                    <a:pt x="46" y="24"/>
                  </a:lnTo>
                  <a:lnTo>
                    <a:pt x="46" y="22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2" y="20"/>
                  </a:lnTo>
                  <a:lnTo>
                    <a:pt x="54" y="18"/>
                  </a:lnTo>
                  <a:lnTo>
                    <a:pt x="58" y="17"/>
                  </a:lnTo>
                  <a:lnTo>
                    <a:pt x="56" y="15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1" y="13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1" y="3"/>
                  </a:lnTo>
                  <a:lnTo>
                    <a:pt x="59" y="1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112" y="27"/>
                  </a:lnTo>
                  <a:lnTo>
                    <a:pt x="114" y="37"/>
                  </a:lnTo>
                  <a:lnTo>
                    <a:pt x="134" y="49"/>
                  </a:lnTo>
                  <a:lnTo>
                    <a:pt x="128" y="70"/>
                  </a:lnTo>
                  <a:lnTo>
                    <a:pt x="128" y="71"/>
                  </a:lnTo>
                  <a:lnTo>
                    <a:pt x="138" y="83"/>
                  </a:lnTo>
                  <a:lnTo>
                    <a:pt x="134" y="92"/>
                  </a:lnTo>
                  <a:lnTo>
                    <a:pt x="136" y="95"/>
                  </a:lnTo>
                  <a:lnTo>
                    <a:pt x="136" y="99"/>
                  </a:lnTo>
                  <a:lnTo>
                    <a:pt x="134" y="99"/>
                  </a:lnTo>
                  <a:lnTo>
                    <a:pt x="133" y="100"/>
                  </a:lnTo>
                  <a:lnTo>
                    <a:pt x="136" y="107"/>
                  </a:lnTo>
                  <a:lnTo>
                    <a:pt x="139" y="112"/>
                  </a:lnTo>
                  <a:lnTo>
                    <a:pt x="141" y="124"/>
                  </a:lnTo>
                  <a:lnTo>
                    <a:pt x="150" y="129"/>
                  </a:lnTo>
                  <a:lnTo>
                    <a:pt x="148" y="131"/>
                  </a:lnTo>
                  <a:lnTo>
                    <a:pt x="143" y="136"/>
                  </a:lnTo>
                  <a:lnTo>
                    <a:pt x="128" y="141"/>
                  </a:lnTo>
                  <a:lnTo>
                    <a:pt x="124" y="143"/>
                  </a:lnTo>
                  <a:lnTo>
                    <a:pt x="121" y="141"/>
                  </a:lnTo>
                  <a:lnTo>
                    <a:pt x="114" y="141"/>
                  </a:lnTo>
                  <a:lnTo>
                    <a:pt x="110" y="145"/>
                  </a:lnTo>
                  <a:lnTo>
                    <a:pt x="100" y="145"/>
                  </a:lnTo>
                  <a:lnTo>
                    <a:pt x="93" y="148"/>
                  </a:lnTo>
                  <a:lnTo>
                    <a:pt x="88" y="145"/>
                  </a:lnTo>
                  <a:lnTo>
                    <a:pt x="83" y="145"/>
                  </a:lnTo>
                  <a:lnTo>
                    <a:pt x="73" y="145"/>
                  </a:lnTo>
                  <a:lnTo>
                    <a:pt x="70" y="139"/>
                  </a:lnTo>
                  <a:lnTo>
                    <a:pt x="68" y="122"/>
                  </a:lnTo>
                  <a:lnTo>
                    <a:pt x="63" y="119"/>
                  </a:lnTo>
                  <a:lnTo>
                    <a:pt x="59" y="117"/>
                  </a:lnTo>
                  <a:lnTo>
                    <a:pt x="59" y="119"/>
                  </a:lnTo>
                  <a:lnTo>
                    <a:pt x="58" y="117"/>
                  </a:lnTo>
                  <a:lnTo>
                    <a:pt x="52" y="119"/>
                  </a:lnTo>
                  <a:lnTo>
                    <a:pt x="46" y="116"/>
                  </a:lnTo>
                  <a:lnTo>
                    <a:pt x="30" y="109"/>
                  </a:lnTo>
                  <a:lnTo>
                    <a:pt x="23" y="104"/>
                  </a:lnTo>
                  <a:lnTo>
                    <a:pt x="20" y="104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Freeform 67">
              <a:extLst>
                <a:ext uri="{FF2B5EF4-FFF2-40B4-BE49-F238E27FC236}">
                  <a16:creationId xmlns:a16="http://schemas.microsoft.com/office/drawing/2014/main" id="{07C54DBD-862C-C740-B311-1A3B76F00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397" y="2699866"/>
              <a:ext cx="92448" cy="83874"/>
            </a:xfrm>
            <a:custGeom>
              <a:avLst/>
              <a:gdLst/>
              <a:ahLst/>
              <a:cxnLst>
                <a:cxn ang="0">
                  <a:pos x="78" y="160"/>
                </a:cxn>
                <a:cxn ang="0">
                  <a:pos x="47" y="160"/>
                </a:cxn>
                <a:cxn ang="0">
                  <a:pos x="23" y="154"/>
                </a:cxn>
                <a:cxn ang="0">
                  <a:pos x="15" y="154"/>
                </a:cxn>
                <a:cxn ang="0">
                  <a:pos x="6" y="157"/>
                </a:cxn>
                <a:cxn ang="0">
                  <a:pos x="0" y="150"/>
                </a:cxn>
                <a:cxn ang="0">
                  <a:pos x="1" y="140"/>
                </a:cxn>
                <a:cxn ang="0">
                  <a:pos x="6" y="130"/>
                </a:cxn>
                <a:cxn ang="0">
                  <a:pos x="13" y="104"/>
                </a:cxn>
                <a:cxn ang="0">
                  <a:pos x="17" y="97"/>
                </a:cxn>
                <a:cxn ang="0">
                  <a:pos x="27" y="89"/>
                </a:cxn>
                <a:cxn ang="0">
                  <a:pos x="29" y="72"/>
                </a:cxn>
                <a:cxn ang="0">
                  <a:pos x="29" y="65"/>
                </a:cxn>
                <a:cxn ang="0">
                  <a:pos x="20" y="46"/>
                </a:cxn>
                <a:cxn ang="0">
                  <a:pos x="22" y="34"/>
                </a:cxn>
                <a:cxn ang="0">
                  <a:pos x="10" y="5"/>
                </a:cxn>
                <a:cxn ang="0">
                  <a:pos x="34" y="0"/>
                </a:cxn>
                <a:cxn ang="0">
                  <a:pos x="54" y="0"/>
                </a:cxn>
                <a:cxn ang="0">
                  <a:pos x="69" y="4"/>
                </a:cxn>
                <a:cxn ang="0">
                  <a:pos x="81" y="29"/>
                </a:cxn>
                <a:cxn ang="0">
                  <a:pos x="97" y="29"/>
                </a:cxn>
                <a:cxn ang="0">
                  <a:pos x="109" y="16"/>
                </a:cxn>
                <a:cxn ang="0">
                  <a:pos x="126" y="19"/>
                </a:cxn>
                <a:cxn ang="0">
                  <a:pos x="139" y="22"/>
                </a:cxn>
                <a:cxn ang="0">
                  <a:pos x="141" y="50"/>
                </a:cxn>
                <a:cxn ang="0">
                  <a:pos x="143" y="73"/>
                </a:cxn>
                <a:cxn ang="0">
                  <a:pos x="150" y="72"/>
                </a:cxn>
                <a:cxn ang="0">
                  <a:pos x="168" y="70"/>
                </a:cxn>
                <a:cxn ang="0">
                  <a:pos x="170" y="96"/>
                </a:cxn>
                <a:cxn ang="0">
                  <a:pos x="163" y="99"/>
                </a:cxn>
                <a:cxn ang="0">
                  <a:pos x="145" y="99"/>
                </a:cxn>
                <a:cxn ang="0">
                  <a:pos x="145" y="120"/>
                </a:cxn>
                <a:cxn ang="0">
                  <a:pos x="145" y="150"/>
                </a:cxn>
                <a:cxn ang="0">
                  <a:pos x="136" y="171"/>
                </a:cxn>
                <a:cxn ang="0">
                  <a:pos x="102" y="167"/>
                </a:cxn>
                <a:cxn ang="0">
                  <a:pos x="93" y="160"/>
                </a:cxn>
              </a:cxnLst>
              <a:rect l="0" t="0" r="r" b="b"/>
              <a:pathLst>
                <a:path w="175" h="172">
                  <a:moveTo>
                    <a:pt x="93" y="160"/>
                  </a:moveTo>
                  <a:lnTo>
                    <a:pt x="78" y="160"/>
                  </a:lnTo>
                  <a:lnTo>
                    <a:pt x="61" y="160"/>
                  </a:lnTo>
                  <a:lnTo>
                    <a:pt x="47" y="160"/>
                  </a:lnTo>
                  <a:lnTo>
                    <a:pt x="32" y="160"/>
                  </a:lnTo>
                  <a:lnTo>
                    <a:pt x="23" y="154"/>
                  </a:lnTo>
                  <a:lnTo>
                    <a:pt x="22" y="154"/>
                  </a:lnTo>
                  <a:lnTo>
                    <a:pt x="15" y="154"/>
                  </a:lnTo>
                  <a:lnTo>
                    <a:pt x="8" y="159"/>
                  </a:lnTo>
                  <a:lnTo>
                    <a:pt x="6" y="157"/>
                  </a:lnTo>
                  <a:lnTo>
                    <a:pt x="1" y="160"/>
                  </a:lnTo>
                  <a:lnTo>
                    <a:pt x="0" y="150"/>
                  </a:lnTo>
                  <a:lnTo>
                    <a:pt x="1" y="154"/>
                  </a:lnTo>
                  <a:lnTo>
                    <a:pt x="1" y="140"/>
                  </a:lnTo>
                  <a:lnTo>
                    <a:pt x="3" y="138"/>
                  </a:lnTo>
                  <a:lnTo>
                    <a:pt x="6" y="130"/>
                  </a:lnTo>
                  <a:lnTo>
                    <a:pt x="10" y="109"/>
                  </a:lnTo>
                  <a:lnTo>
                    <a:pt x="13" y="104"/>
                  </a:lnTo>
                  <a:lnTo>
                    <a:pt x="17" y="101"/>
                  </a:lnTo>
                  <a:lnTo>
                    <a:pt x="17" y="97"/>
                  </a:lnTo>
                  <a:lnTo>
                    <a:pt x="22" y="94"/>
                  </a:lnTo>
                  <a:lnTo>
                    <a:pt x="27" y="89"/>
                  </a:lnTo>
                  <a:lnTo>
                    <a:pt x="29" y="82"/>
                  </a:lnTo>
                  <a:lnTo>
                    <a:pt x="29" y="72"/>
                  </a:lnTo>
                  <a:lnTo>
                    <a:pt x="30" y="70"/>
                  </a:lnTo>
                  <a:lnTo>
                    <a:pt x="29" y="65"/>
                  </a:lnTo>
                  <a:lnTo>
                    <a:pt x="23" y="58"/>
                  </a:lnTo>
                  <a:lnTo>
                    <a:pt x="20" y="46"/>
                  </a:lnTo>
                  <a:lnTo>
                    <a:pt x="23" y="41"/>
                  </a:lnTo>
                  <a:lnTo>
                    <a:pt x="22" y="34"/>
                  </a:lnTo>
                  <a:lnTo>
                    <a:pt x="17" y="17"/>
                  </a:lnTo>
                  <a:lnTo>
                    <a:pt x="10" y="5"/>
                  </a:lnTo>
                  <a:lnTo>
                    <a:pt x="23" y="0"/>
                  </a:lnTo>
                  <a:lnTo>
                    <a:pt x="34" y="0"/>
                  </a:lnTo>
                  <a:lnTo>
                    <a:pt x="44" y="0"/>
                  </a:lnTo>
                  <a:lnTo>
                    <a:pt x="54" y="0"/>
                  </a:lnTo>
                  <a:lnTo>
                    <a:pt x="64" y="0"/>
                  </a:lnTo>
                  <a:lnTo>
                    <a:pt x="69" y="4"/>
                  </a:lnTo>
                  <a:lnTo>
                    <a:pt x="73" y="21"/>
                  </a:lnTo>
                  <a:lnTo>
                    <a:pt x="81" y="29"/>
                  </a:lnTo>
                  <a:lnTo>
                    <a:pt x="85" y="31"/>
                  </a:lnTo>
                  <a:lnTo>
                    <a:pt x="97" y="29"/>
                  </a:lnTo>
                  <a:lnTo>
                    <a:pt x="105" y="29"/>
                  </a:lnTo>
                  <a:lnTo>
                    <a:pt x="109" y="16"/>
                  </a:lnTo>
                  <a:lnTo>
                    <a:pt x="126" y="14"/>
                  </a:lnTo>
                  <a:lnTo>
                    <a:pt x="126" y="19"/>
                  </a:lnTo>
                  <a:lnTo>
                    <a:pt x="138" y="21"/>
                  </a:lnTo>
                  <a:lnTo>
                    <a:pt x="139" y="22"/>
                  </a:lnTo>
                  <a:lnTo>
                    <a:pt x="141" y="43"/>
                  </a:lnTo>
                  <a:lnTo>
                    <a:pt x="141" y="50"/>
                  </a:lnTo>
                  <a:lnTo>
                    <a:pt x="145" y="65"/>
                  </a:lnTo>
                  <a:lnTo>
                    <a:pt x="143" y="73"/>
                  </a:lnTo>
                  <a:lnTo>
                    <a:pt x="148" y="75"/>
                  </a:lnTo>
                  <a:lnTo>
                    <a:pt x="150" y="72"/>
                  </a:lnTo>
                  <a:lnTo>
                    <a:pt x="158" y="70"/>
                  </a:lnTo>
                  <a:lnTo>
                    <a:pt x="168" y="70"/>
                  </a:lnTo>
                  <a:lnTo>
                    <a:pt x="172" y="70"/>
                  </a:lnTo>
                  <a:lnTo>
                    <a:pt x="170" y="96"/>
                  </a:lnTo>
                  <a:lnTo>
                    <a:pt x="174" y="99"/>
                  </a:lnTo>
                  <a:lnTo>
                    <a:pt x="163" y="99"/>
                  </a:lnTo>
                  <a:lnTo>
                    <a:pt x="153" y="99"/>
                  </a:lnTo>
                  <a:lnTo>
                    <a:pt x="145" y="99"/>
                  </a:lnTo>
                  <a:lnTo>
                    <a:pt x="145" y="109"/>
                  </a:lnTo>
                  <a:lnTo>
                    <a:pt x="145" y="120"/>
                  </a:lnTo>
                  <a:lnTo>
                    <a:pt x="145" y="133"/>
                  </a:lnTo>
                  <a:lnTo>
                    <a:pt x="145" y="150"/>
                  </a:lnTo>
                  <a:lnTo>
                    <a:pt x="160" y="164"/>
                  </a:lnTo>
                  <a:lnTo>
                    <a:pt x="136" y="171"/>
                  </a:lnTo>
                  <a:lnTo>
                    <a:pt x="116" y="167"/>
                  </a:lnTo>
                  <a:lnTo>
                    <a:pt x="102" y="167"/>
                  </a:lnTo>
                  <a:lnTo>
                    <a:pt x="98" y="166"/>
                  </a:lnTo>
                  <a:lnTo>
                    <a:pt x="93" y="16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Freeform 68">
              <a:extLst>
                <a:ext uri="{FF2B5EF4-FFF2-40B4-BE49-F238E27FC236}">
                  <a16:creationId xmlns:a16="http://schemas.microsoft.com/office/drawing/2014/main" id="{182DFCA1-7D27-7946-A2B3-163DBAA2D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5185" y="2766673"/>
              <a:ext cx="57582" cy="49252"/>
            </a:xfrm>
            <a:custGeom>
              <a:avLst/>
              <a:gdLst/>
              <a:ahLst/>
              <a:cxnLst>
                <a:cxn ang="0">
                  <a:pos x="24" y="32"/>
                </a:cxn>
                <a:cxn ang="0">
                  <a:pos x="27" y="30"/>
                </a:cxn>
                <a:cxn ang="0">
                  <a:pos x="34" y="23"/>
                </a:cxn>
                <a:cxn ang="0">
                  <a:pos x="39" y="20"/>
                </a:cxn>
                <a:cxn ang="0">
                  <a:pos x="39" y="18"/>
                </a:cxn>
                <a:cxn ang="0">
                  <a:pos x="45" y="15"/>
                </a:cxn>
                <a:cxn ang="0">
                  <a:pos x="50" y="17"/>
                </a:cxn>
                <a:cxn ang="0">
                  <a:pos x="51" y="13"/>
                </a:cxn>
                <a:cxn ang="0">
                  <a:pos x="48" y="13"/>
                </a:cxn>
                <a:cxn ang="0">
                  <a:pos x="48" y="10"/>
                </a:cxn>
                <a:cxn ang="0">
                  <a:pos x="50" y="5"/>
                </a:cxn>
                <a:cxn ang="0">
                  <a:pos x="62" y="0"/>
                </a:cxn>
                <a:cxn ang="0">
                  <a:pos x="67" y="0"/>
                </a:cxn>
                <a:cxn ang="0">
                  <a:pos x="70" y="0"/>
                </a:cxn>
                <a:cxn ang="0">
                  <a:pos x="70" y="5"/>
                </a:cxn>
                <a:cxn ang="0">
                  <a:pos x="85" y="5"/>
                </a:cxn>
                <a:cxn ang="0">
                  <a:pos x="103" y="11"/>
                </a:cxn>
                <a:cxn ang="0">
                  <a:pos x="106" y="13"/>
                </a:cxn>
                <a:cxn ang="0">
                  <a:pos x="108" y="25"/>
                </a:cxn>
                <a:cxn ang="0">
                  <a:pos x="108" y="37"/>
                </a:cxn>
                <a:cxn ang="0">
                  <a:pos x="104" y="47"/>
                </a:cxn>
                <a:cxn ang="0">
                  <a:pos x="106" y="63"/>
                </a:cxn>
                <a:cxn ang="0">
                  <a:pos x="96" y="88"/>
                </a:cxn>
                <a:cxn ang="0">
                  <a:pos x="89" y="93"/>
                </a:cxn>
                <a:cxn ang="0">
                  <a:pos x="87" y="100"/>
                </a:cxn>
                <a:cxn ang="0">
                  <a:pos x="82" y="97"/>
                </a:cxn>
                <a:cxn ang="0">
                  <a:pos x="77" y="95"/>
                </a:cxn>
                <a:cxn ang="0">
                  <a:pos x="68" y="95"/>
                </a:cxn>
                <a:cxn ang="0">
                  <a:pos x="60" y="92"/>
                </a:cxn>
                <a:cxn ang="0">
                  <a:pos x="56" y="93"/>
                </a:cxn>
                <a:cxn ang="0">
                  <a:pos x="48" y="88"/>
                </a:cxn>
                <a:cxn ang="0">
                  <a:pos x="43" y="88"/>
                </a:cxn>
                <a:cxn ang="0">
                  <a:pos x="38" y="85"/>
                </a:cxn>
                <a:cxn ang="0">
                  <a:pos x="34" y="71"/>
                </a:cxn>
                <a:cxn ang="0">
                  <a:pos x="24" y="63"/>
                </a:cxn>
                <a:cxn ang="0">
                  <a:pos x="19" y="61"/>
                </a:cxn>
                <a:cxn ang="0">
                  <a:pos x="12" y="52"/>
                </a:cxn>
                <a:cxn ang="0">
                  <a:pos x="7" y="42"/>
                </a:cxn>
                <a:cxn ang="0">
                  <a:pos x="0" y="34"/>
                </a:cxn>
                <a:cxn ang="0">
                  <a:pos x="0" y="30"/>
                </a:cxn>
                <a:cxn ang="0">
                  <a:pos x="10" y="32"/>
                </a:cxn>
                <a:cxn ang="0">
                  <a:pos x="17" y="32"/>
                </a:cxn>
                <a:cxn ang="0">
                  <a:pos x="21" y="34"/>
                </a:cxn>
                <a:cxn ang="0">
                  <a:pos x="22" y="34"/>
                </a:cxn>
                <a:cxn ang="0">
                  <a:pos x="24" y="32"/>
                </a:cxn>
              </a:cxnLst>
              <a:rect l="0" t="0" r="r" b="b"/>
              <a:pathLst>
                <a:path w="109" h="101">
                  <a:moveTo>
                    <a:pt x="24" y="32"/>
                  </a:moveTo>
                  <a:lnTo>
                    <a:pt x="27" y="30"/>
                  </a:lnTo>
                  <a:lnTo>
                    <a:pt x="34" y="23"/>
                  </a:lnTo>
                  <a:lnTo>
                    <a:pt x="39" y="20"/>
                  </a:lnTo>
                  <a:lnTo>
                    <a:pt x="39" y="18"/>
                  </a:lnTo>
                  <a:lnTo>
                    <a:pt x="45" y="15"/>
                  </a:lnTo>
                  <a:lnTo>
                    <a:pt x="50" y="17"/>
                  </a:lnTo>
                  <a:lnTo>
                    <a:pt x="51" y="13"/>
                  </a:lnTo>
                  <a:lnTo>
                    <a:pt x="48" y="13"/>
                  </a:lnTo>
                  <a:lnTo>
                    <a:pt x="48" y="10"/>
                  </a:lnTo>
                  <a:lnTo>
                    <a:pt x="50" y="5"/>
                  </a:lnTo>
                  <a:lnTo>
                    <a:pt x="62" y="0"/>
                  </a:lnTo>
                  <a:lnTo>
                    <a:pt x="67" y="0"/>
                  </a:lnTo>
                  <a:lnTo>
                    <a:pt x="70" y="0"/>
                  </a:lnTo>
                  <a:lnTo>
                    <a:pt x="70" y="5"/>
                  </a:lnTo>
                  <a:lnTo>
                    <a:pt x="85" y="5"/>
                  </a:lnTo>
                  <a:lnTo>
                    <a:pt x="103" y="11"/>
                  </a:lnTo>
                  <a:lnTo>
                    <a:pt x="106" y="13"/>
                  </a:lnTo>
                  <a:lnTo>
                    <a:pt x="108" y="25"/>
                  </a:lnTo>
                  <a:lnTo>
                    <a:pt x="108" y="37"/>
                  </a:lnTo>
                  <a:lnTo>
                    <a:pt x="104" y="47"/>
                  </a:lnTo>
                  <a:lnTo>
                    <a:pt x="106" y="63"/>
                  </a:lnTo>
                  <a:lnTo>
                    <a:pt x="96" y="88"/>
                  </a:lnTo>
                  <a:lnTo>
                    <a:pt x="89" y="93"/>
                  </a:lnTo>
                  <a:lnTo>
                    <a:pt x="87" y="100"/>
                  </a:lnTo>
                  <a:lnTo>
                    <a:pt x="82" y="97"/>
                  </a:lnTo>
                  <a:lnTo>
                    <a:pt x="77" y="95"/>
                  </a:lnTo>
                  <a:lnTo>
                    <a:pt x="68" y="95"/>
                  </a:lnTo>
                  <a:lnTo>
                    <a:pt x="60" y="92"/>
                  </a:lnTo>
                  <a:lnTo>
                    <a:pt x="56" y="93"/>
                  </a:lnTo>
                  <a:lnTo>
                    <a:pt x="48" y="88"/>
                  </a:lnTo>
                  <a:lnTo>
                    <a:pt x="43" y="88"/>
                  </a:lnTo>
                  <a:lnTo>
                    <a:pt x="38" y="85"/>
                  </a:lnTo>
                  <a:lnTo>
                    <a:pt x="34" y="71"/>
                  </a:lnTo>
                  <a:lnTo>
                    <a:pt x="24" y="63"/>
                  </a:lnTo>
                  <a:lnTo>
                    <a:pt x="19" y="61"/>
                  </a:lnTo>
                  <a:lnTo>
                    <a:pt x="12" y="52"/>
                  </a:lnTo>
                  <a:lnTo>
                    <a:pt x="7" y="42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10" y="32"/>
                  </a:lnTo>
                  <a:lnTo>
                    <a:pt x="17" y="32"/>
                  </a:lnTo>
                  <a:lnTo>
                    <a:pt x="21" y="34"/>
                  </a:lnTo>
                  <a:lnTo>
                    <a:pt x="22" y="34"/>
                  </a:lnTo>
                  <a:lnTo>
                    <a:pt x="24" y="32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Freeform 69">
              <a:extLst>
                <a:ext uri="{FF2B5EF4-FFF2-40B4-BE49-F238E27FC236}">
                  <a16:creationId xmlns:a16="http://schemas.microsoft.com/office/drawing/2014/main" id="{72840F5D-2632-0146-9515-F994C3F59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6621" y="2781302"/>
              <a:ext cx="68676" cy="65344"/>
            </a:xfrm>
            <a:custGeom>
              <a:avLst/>
              <a:gdLst/>
              <a:ahLst/>
              <a:cxnLst>
                <a:cxn ang="0">
                  <a:pos x="129" y="63"/>
                </a:cxn>
                <a:cxn ang="0">
                  <a:pos x="121" y="58"/>
                </a:cxn>
                <a:cxn ang="0">
                  <a:pos x="116" y="58"/>
                </a:cxn>
                <a:cxn ang="0">
                  <a:pos x="111" y="55"/>
                </a:cxn>
                <a:cxn ang="0">
                  <a:pos x="107" y="41"/>
                </a:cxn>
                <a:cxn ang="0">
                  <a:pos x="97" y="33"/>
                </a:cxn>
                <a:cxn ang="0">
                  <a:pos x="92" y="31"/>
                </a:cxn>
                <a:cxn ang="0">
                  <a:pos x="85" y="22"/>
                </a:cxn>
                <a:cxn ang="0">
                  <a:pos x="80" y="12"/>
                </a:cxn>
                <a:cxn ang="0">
                  <a:pos x="73" y="4"/>
                </a:cxn>
                <a:cxn ang="0">
                  <a:pos x="73" y="0"/>
                </a:cxn>
                <a:cxn ang="0">
                  <a:pos x="68" y="0"/>
                </a:cxn>
                <a:cxn ang="0">
                  <a:pos x="65" y="2"/>
                </a:cxn>
                <a:cxn ang="0">
                  <a:pos x="58" y="4"/>
                </a:cxn>
                <a:cxn ang="0">
                  <a:pos x="51" y="12"/>
                </a:cxn>
                <a:cxn ang="0">
                  <a:pos x="48" y="5"/>
                </a:cxn>
                <a:cxn ang="0">
                  <a:pos x="41" y="4"/>
                </a:cxn>
                <a:cxn ang="0">
                  <a:pos x="13" y="10"/>
                </a:cxn>
                <a:cxn ang="0">
                  <a:pos x="13" y="24"/>
                </a:cxn>
                <a:cxn ang="0">
                  <a:pos x="13" y="34"/>
                </a:cxn>
                <a:cxn ang="0">
                  <a:pos x="13" y="46"/>
                </a:cxn>
                <a:cxn ang="0">
                  <a:pos x="13" y="62"/>
                </a:cxn>
                <a:cxn ang="0">
                  <a:pos x="2" y="60"/>
                </a:cxn>
                <a:cxn ang="0">
                  <a:pos x="0" y="62"/>
                </a:cxn>
                <a:cxn ang="0">
                  <a:pos x="0" y="82"/>
                </a:cxn>
                <a:cxn ang="0">
                  <a:pos x="0" y="103"/>
                </a:cxn>
                <a:cxn ang="0">
                  <a:pos x="12" y="116"/>
                </a:cxn>
                <a:cxn ang="0">
                  <a:pos x="13" y="121"/>
                </a:cxn>
                <a:cxn ang="0">
                  <a:pos x="10" y="130"/>
                </a:cxn>
                <a:cxn ang="0">
                  <a:pos x="12" y="132"/>
                </a:cxn>
                <a:cxn ang="0">
                  <a:pos x="22" y="133"/>
                </a:cxn>
                <a:cxn ang="0">
                  <a:pos x="31" y="132"/>
                </a:cxn>
                <a:cxn ang="0">
                  <a:pos x="48" y="113"/>
                </a:cxn>
                <a:cxn ang="0">
                  <a:pos x="54" y="113"/>
                </a:cxn>
                <a:cxn ang="0">
                  <a:pos x="66" y="116"/>
                </a:cxn>
                <a:cxn ang="0">
                  <a:pos x="77" y="114"/>
                </a:cxn>
                <a:cxn ang="0">
                  <a:pos x="82" y="104"/>
                </a:cxn>
                <a:cxn ang="0">
                  <a:pos x="94" y="94"/>
                </a:cxn>
                <a:cxn ang="0">
                  <a:pos x="97" y="89"/>
                </a:cxn>
                <a:cxn ang="0">
                  <a:pos x="106" y="79"/>
                </a:cxn>
                <a:cxn ang="0">
                  <a:pos x="114" y="72"/>
                </a:cxn>
                <a:cxn ang="0">
                  <a:pos x="129" y="63"/>
                </a:cxn>
              </a:cxnLst>
              <a:rect l="0" t="0" r="r" b="b"/>
              <a:pathLst>
                <a:path w="130" h="134">
                  <a:moveTo>
                    <a:pt x="129" y="63"/>
                  </a:moveTo>
                  <a:lnTo>
                    <a:pt x="121" y="58"/>
                  </a:lnTo>
                  <a:lnTo>
                    <a:pt x="116" y="58"/>
                  </a:lnTo>
                  <a:lnTo>
                    <a:pt x="111" y="55"/>
                  </a:lnTo>
                  <a:lnTo>
                    <a:pt x="107" y="41"/>
                  </a:lnTo>
                  <a:lnTo>
                    <a:pt x="97" y="33"/>
                  </a:lnTo>
                  <a:lnTo>
                    <a:pt x="92" y="31"/>
                  </a:lnTo>
                  <a:lnTo>
                    <a:pt x="85" y="22"/>
                  </a:lnTo>
                  <a:lnTo>
                    <a:pt x="80" y="12"/>
                  </a:lnTo>
                  <a:lnTo>
                    <a:pt x="73" y="4"/>
                  </a:lnTo>
                  <a:lnTo>
                    <a:pt x="73" y="0"/>
                  </a:lnTo>
                  <a:lnTo>
                    <a:pt x="68" y="0"/>
                  </a:lnTo>
                  <a:lnTo>
                    <a:pt x="65" y="2"/>
                  </a:lnTo>
                  <a:lnTo>
                    <a:pt x="58" y="4"/>
                  </a:lnTo>
                  <a:lnTo>
                    <a:pt x="51" y="12"/>
                  </a:lnTo>
                  <a:lnTo>
                    <a:pt x="48" y="5"/>
                  </a:lnTo>
                  <a:lnTo>
                    <a:pt x="41" y="4"/>
                  </a:lnTo>
                  <a:lnTo>
                    <a:pt x="13" y="10"/>
                  </a:lnTo>
                  <a:lnTo>
                    <a:pt x="13" y="24"/>
                  </a:lnTo>
                  <a:lnTo>
                    <a:pt x="13" y="34"/>
                  </a:lnTo>
                  <a:lnTo>
                    <a:pt x="13" y="46"/>
                  </a:lnTo>
                  <a:lnTo>
                    <a:pt x="13" y="62"/>
                  </a:lnTo>
                  <a:lnTo>
                    <a:pt x="2" y="60"/>
                  </a:lnTo>
                  <a:lnTo>
                    <a:pt x="0" y="62"/>
                  </a:lnTo>
                  <a:lnTo>
                    <a:pt x="0" y="82"/>
                  </a:lnTo>
                  <a:lnTo>
                    <a:pt x="0" y="103"/>
                  </a:lnTo>
                  <a:lnTo>
                    <a:pt x="12" y="116"/>
                  </a:lnTo>
                  <a:lnTo>
                    <a:pt x="13" y="121"/>
                  </a:lnTo>
                  <a:lnTo>
                    <a:pt x="10" y="130"/>
                  </a:lnTo>
                  <a:lnTo>
                    <a:pt x="12" y="132"/>
                  </a:lnTo>
                  <a:lnTo>
                    <a:pt x="22" y="133"/>
                  </a:lnTo>
                  <a:lnTo>
                    <a:pt x="31" y="132"/>
                  </a:lnTo>
                  <a:lnTo>
                    <a:pt x="48" y="113"/>
                  </a:lnTo>
                  <a:lnTo>
                    <a:pt x="54" y="113"/>
                  </a:lnTo>
                  <a:lnTo>
                    <a:pt x="66" y="116"/>
                  </a:lnTo>
                  <a:lnTo>
                    <a:pt x="77" y="114"/>
                  </a:lnTo>
                  <a:lnTo>
                    <a:pt x="82" y="104"/>
                  </a:lnTo>
                  <a:lnTo>
                    <a:pt x="94" y="94"/>
                  </a:lnTo>
                  <a:lnTo>
                    <a:pt x="97" y="89"/>
                  </a:lnTo>
                  <a:lnTo>
                    <a:pt x="106" y="79"/>
                  </a:lnTo>
                  <a:lnTo>
                    <a:pt x="114" y="72"/>
                  </a:lnTo>
                  <a:lnTo>
                    <a:pt x="129" y="63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Freeform 70">
              <a:extLst>
                <a:ext uri="{FF2B5EF4-FFF2-40B4-BE49-F238E27FC236}">
                  <a16:creationId xmlns:a16="http://schemas.microsoft.com/office/drawing/2014/main" id="{5B538EB5-3FB0-C44B-878D-9818D43FF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925" y="2774963"/>
              <a:ext cx="98788" cy="88263"/>
            </a:xfrm>
            <a:custGeom>
              <a:avLst/>
              <a:gdLst/>
              <a:ahLst/>
              <a:cxnLst>
                <a:cxn ang="0">
                  <a:pos x="92" y="6"/>
                </a:cxn>
                <a:cxn ang="0">
                  <a:pos x="77" y="6"/>
                </a:cxn>
                <a:cxn ang="0">
                  <a:pos x="60" y="6"/>
                </a:cxn>
                <a:cxn ang="0">
                  <a:pos x="46" y="6"/>
                </a:cxn>
                <a:cxn ang="0">
                  <a:pos x="31" y="6"/>
                </a:cxn>
                <a:cxn ang="0">
                  <a:pos x="22" y="0"/>
                </a:cxn>
                <a:cxn ang="0">
                  <a:pos x="21" y="0"/>
                </a:cxn>
                <a:cxn ang="0">
                  <a:pos x="14" y="0"/>
                </a:cxn>
                <a:cxn ang="0">
                  <a:pos x="7" y="5"/>
                </a:cxn>
                <a:cxn ang="0">
                  <a:pos x="5" y="3"/>
                </a:cxn>
                <a:cxn ang="0">
                  <a:pos x="0" y="6"/>
                </a:cxn>
                <a:cxn ang="0">
                  <a:pos x="0" y="18"/>
                </a:cxn>
                <a:cxn ang="0">
                  <a:pos x="14" y="37"/>
                </a:cxn>
                <a:cxn ang="0">
                  <a:pos x="24" y="59"/>
                </a:cxn>
                <a:cxn ang="0">
                  <a:pos x="38" y="83"/>
                </a:cxn>
                <a:cxn ang="0">
                  <a:pos x="38" y="107"/>
                </a:cxn>
                <a:cxn ang="0">
                  <a:pos x="43" y="119"/>
                </a:cxn>
                <a:cxn ang="0">
                  <a:pos x="43" y="131"/>
                </a:cxn>
                <a:cxn ang="0">
                  <a:pos x="48" y="156"/>
                </a:cxn>
                <a:cxn ang="0">
                  <a:pos x="55" y="167"/>
                </a:cxn>
                <a:cxn ang="0">
                  <a:pos x="65" y="175"/>
                </a:cxn>
                <a:cxn ang="0">
                  <a:pos x="68" y="175"/>
                </a:cxn>
                <a:cxn ang="0">
                  <a:pos x="72" y="170"/>
                </a:cxn>
                <a:cxn ang="0">
                  <a:pos x="74" y="170"/>
                </a:cxn>
                <a:cxn ang="0">
                  <a:pos x="80" y="175"/>
                </a:cxn>
                <a:cxn ang="0">
                  <a:pos x="80" y="177"/>
                </a:cxn>
                <a:cxn ang="0">
                  <a:pos x="84" y="180"/>
                </a:cxn>
                <a:cxn ang="0">
                  <a:pos x="101" y="180"/>
                </a:cxn>
                <a:cxn ang="0">
                  <a:pos x="113" y="174"/>
                </a:cxn>
                <a:cxn ang="0">
                  <a:pos x="113" y="148"/>
                </a:cxn>
                <a:cxn ang="0">
                  <a:pos x="113" y="131"/>
                </a:cxn>
                <a:cxn ang="0">
                  <a:pos x="113" y="116"/>
                </a:cxn>
                <a:cxn ang="0">
                  <a:pos x="113" y="95"/>
                </a:cxn>
                <a:cxn ang="0">
                  <a:pos x="113" y="75"/>
                </a:cxn>
                <a:cxn ang="0">
                  <a:pos x="115" y="73"/>
                </a:cxn>
                <a:cxn ang="0">
                  <a:pos x="126" y="75"/>
                </a:cxn>
                <a:cxn ang="0">
                  <a:pos x="126" y="59"/>
                </a:cxn>
                <a:cxn ang="0">
                  <a:pos x="126" y="46"/>
                </a:cxn>
                <a:cxn ang="0">
                  <a:pos x="126" y="37"/>
                </a:cxn>
                <a:cxn ang="0">
                  <a:pos x="126" y="23"/>
                </a:cxn>
                <a:cxn ang="0">
                  <a:pos x="154" y="17"/>
                </a:cxn>
                <a:cxn ang="0">
                  <a:pos x="161" y="18"/>
                </a:cxn>
                <a:cxn ang="0">
                  <a:pos x="164" y="25"/>
                </a:cxn>
                <a:cxn ang="0">
                  <a:pos x="171" y="17"/>
                </a:cxn>
                <a:cxn ang="0">
                  <a:pos x="178" y="15"/>
                </a:cxn>
                <a:cxn ang="0">
                  <a:pos x="181" y="13"/>
                </a:cxn>
                <a:cxn ang="0">
                  <a:pos x="186" y="13"/>
                </a:cxn>
                <a:cxn ang="0">
                  <a:pos x="181" y="8"/>
                </a:cxn>
                <a:cxn ang="0">
                  <a:pos x="173" y="8"/>
                </a:cxn>
                <a:cxn ang="0">
                  <a:pos x="159" y="10"/>
                </a:cxn>
                <a:cxn ang="0">
                  <a:pos x="135" y="17"/>
                </a:cxn>
                <a:cxn ang="0">
                  <a:pos x="115" y="13"/>
                </a:cxn>
                <a:cxn ang="0">
                  <a:pos x="101" y="13"/>
                </a:cxn>
                <a:cxn ang="0">
                  <a:pos x="97" y="12"/>
                </a:cxn>
                <a:cxn ang="0">
                  <a:pos x="92" y="6"/>
                </a:cxn>
              </a:cxnLst>
              <a:rect l="0" t="0" r="r" b="b"/>
              <a:pathLst>
                <a:path w="187" h="181">
                  <a:moveTo>
                    <a:pt x="92" y="6"/>
                  </a:moveTo>
                  <a:lnTo>
                    <a:pt x="77" y="6"/>
                  </a:lnTo>
                  <a:lnTo>
                    <a:pt x="60" y="6"/>
                  </a:lnTo>
                  <a:lnTo>
                    <a:pt x="46" y="6"/>
                  </a:lnTo>
                  <a:lnTo>
                    <a:pt x="31" y="6"/>
                  </a:lnTo>
                  <a:lnTo>
                    <a:pt x="22" y="0"/>
                  </a:lnTo>
                  <a:lnTo>
                    <a:pt x="21" y="0"/>
                  </a:lnTo>
                  <a:lnTo>
                    <a:pt x="14" y="0"/>
                  </a:lnTo>
                  <a:lnTo>
                    <a:pt x="7" y="5"/>
                  </a:lnTo>
                  <a:lnTo>
                    <a:pt x="5" y="3"/>
                  </a:lnTo>
                  <a:lnTo>
                    <a:pt x="0" y="6"/>
                  </a:lnTo>
                  <a:lnTo>
                    <a:pt x="0" y="18"/>
                  </a:lnTo>
                  <a:lnTo>
                    <a:pt x="14" y="37"/>
                  </a:lnTo>
                  <a:lnTo>
                    <a:pt x="24" y="59"/>
                  </a:lnTo>
                  <a:lnTo>
                    <a:pt x="38" y="83"/>
                  </a:lnTo>
                  <a:lnTo>
                    <a:pt x="38" y="107"/>
                  </a:lnTo>
                  <a:lnTo>
                    <a:pt x="43" y="119"/>
                  </a:lnTo>
                  <a:lnTo>
                    <a:pt x="43" y="131"/>
                  </a:lnTo>
                  <a:lnTo>
                    <a:pt x="48" y="156"/>
                  </a:lnTo>
                  <a:lnTo>
                    <a:pt x="55" y="167"/>
                  </a:lnTo>
                  <a:lnTo>
                    <a:pt x="65" y="175"/>
                  </a:lnTo>
                  <a:lnTo>
                    <a:pt x="68" y="175"/>
                  </a:lnTo>
                  <a:lnTo>
                    <a:pt x="72" y="170"/>
                  </a:lnTo>
                  <a:lnTo>
                    <a:pt x="74" y="170"/>
                  </a:lnTo>
                  <a:lnTo>
                    <a:pt x="80" y="175"/>
                  </a:lnTo>
                  <a:lnTo>
                    <a:pt x="80" y="177"/>
                  </a:lnTo>
                  <a:lnTo>
                    <a:pt x="84" y="180"/>
                  </a:lnTo>
                  <a:lnTo>
                    <a:pt x="101" y="180"/>
                  </a:lnTo>
                  <a:lnTo>
                    <a:pt x="113" y="174"/>
                  </a:lnTo>
                  <a:lnTo>
                    <a:pt x="113" y="148"/>
                  </a:lnTo>
                  <a:lnTo>
                    <a:pt x="113" y="131"/>
                  </a:lnTo>
                  <a:lnTo>
                    <a:pt x="113" y="116"/>
                  </a:lnTo>
                  <a:lnTo>
                    <a:pt x="113" y="95"/>
                  </a:lnTo>
                  <a:lnTo>
                    <a:pt x="113" y="75"/>
                  </a:lnTo>
                  <a:lnTo>
                    <a:pt x="115" y="73"/>
                  </a:lnTo>
                  <a:lnTo>
                    <a:pt x="126" y="75"/>
                  </a:lnTo>
                  <a:lnTo>
                    <a:pt x="126" y="59"/>
                  </a:lnTo>
                  <a:lnTo>
                    <a:pt x="126" y="46"/>
                  </a:lnTo>
                  <a:lnTo>
                    <a:pt x="126" y="37"/>
                  </a:lnTo>
                  <a:lnTo>
                    <a:pt x="126" y="23"/>
                  </a:lnTo>
                  <a:lnTo>
                    <a:pt x="154" y="17"/>
                  </a:lnTo>
                  <a:lnTo>
                    <a:pt x="161" y="18"/>
                  </a:lnTo>
                  <a:lnTo>
                    <a:pt x="164" y="25"/>
                  </a:lnTo>
                  <a:lnTo>
                    <a:pt x="171" y="17"/>
                  </a:lnTo>
                  <a:lnTo>
                    <a:pt x="178" y="15"/>
                  </a:lnTo>
                  <a:lnTo>
                    <a:pt x="181" y="13"/>
                  </a:lnTo>
                  <a:lnTo>
                    <a:pt x="186" y="13"/>
                  </a:lnTo>
                  <a:lnTo>
                    <a:pt x="181" y="8"/>
                  </a:lnTo>
                  <a:lnTo>
                    <a:pt x="173" y="8"/>
                  </a:lnTo>
                  <a:lnTo>
                    <a:pt x="159" y="10"/>
                  </a:lnTo>
                  <a:lnTo>
                    <a:pt x="135" y="17"/>
                  </a:lnTo>
                  <a:lnTo>
                    <a:pt x="115" y="13"/>
                  </a:lnTo>
                  <a:lnTo>
                    <a:pt x="101" y="13"/>
                  </a:lnTo>
                  <a:lnTo>
                    <a:pt x="97" y="12"/>
                  </a:lnTo>
                  <a:lnTo>
                    <a:pt x="92" y="6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Freeform 71">
              <a:extLst>
                <a:ext uri="{FF2B5EF4-FFF2-40B4-BE49-F238E27FC236}">
                  <a16:creationId xmlns:a16="http://schemas.microsoft.com/office/drawing/2014/main" id="{7367CCBD-331B-7142-BF4D-D6CC24941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2401" y="2499446"/>
              <a:ext cx="116749" cy="82899"/>
            </a:xfrm>
            <a:custGeom>
              <a:avLst/>
              <a:gdLst/>
              <a:ahLst/>
              <a:cxnLst>
                <a:cxn ang="0">
                  <a:pos x="56" y="75"/>
                </a:cxn>
                <a:cxn ang="0">
                  <a:pos x="56" y="97"/>
                </a:cxn>
                <a:cxn ang="0">
                  <a:pos x="53" y="109"/>
                </a:cxn>
                <a:cxn ang="0">
                  <a:pos x="32" y="118"/>
                </a:cxn>
                <a:cxn ang="0">
                  <a:pos x="12" y="123"/>
                </a:cxn>
                <a:cxn ang="0">
                  <a:pos x="0" y="130"/>
                </a:cxn>
                <a:cxn ang="0">
                  <a:pos x="3" y="138"/>
                </a:cxn>
                <a:cxn ang="0">
                  <a:pos x="19" y="155"/>
                </a:cxn>
                <a:cxn ang="0">
                  <a:pos x="25" y="155"/>
                </a:cxn>
                <a:cxn ang="0">
                  <a:pos x="31" y="159"/>
                </a:cxn>
                <a:cxn ang="0">
                  <a:pos x="29" y="162"/>
                </a:cxn>
                <a:cxn ang="0">
                  <a:pos x="34" y="166"/>
                </a:cxn>
                <a:cxn ang="0">
                  <a:pos x="39" y="161"/>
                </a:cxn>
                <a:cxn ang="0">
                  <a:pos x="49" y="159"/>
                </a:cxn>
                <a:cxn ang="0">
                  <a:pos x="56" y="145"/>
                </a:cxn>
                <a:cxn ang="0">
                  <a:pos x="77" y="140"/>
                </a:cxn>
                <a:cxn ang="0">
                  <a:pos x="95" y="152"/>
                </a:cxn>
                <a:cxn ang="0">
                  <a:pos x="102" y="147"/>
                </a:cxn>
                <a:cxn ang="0">
                  <a:pos x="119" y="154"/>
                </a:cxn>
                <a:cxn ang="0">
                  <a:pos x="131" y="154"/>
                </a:cxn>
                <a:cxn ang="0">
                  <a:pos x="160" y="145"/>
                </a:cxn>
                <a:cxn ang="0">
                  <a:pos x="176" y="143"/>
                </a:cxn>
                <a:cxn ang="0">
                  <a:pos x="181" y="140"/>
                </a:cxn>
                <a:cxn ang="0">
                  <a:pos x="184" y="133"/>
                </a:cxn>
                <a:cxn ang="0">
                  <a:pos x="186" y="128"/>
                </a:cxn>
                <a:cxn ang="0">
                  <a:pos x="211" y="96"/>
                </a:cxn>
                <a:cxn ang="0">
                  <a:pos x="217" y="51"/>
                </a:cxn>
                <a:cxn ang="0">
                  <a:pos x="211" y="39"/>
                </a:cxn>
                <a:cxn ang="0">
                  <a:pos x="206" y="7"/>
                </a:cxn>
                <a:cxn ang="0">
                  <a:pos x="199" y="5"/>
                </a:cxn>
                <a:cxn ang="0">
                  <a:pos x="160" y="0"/>
                </a:cxn>
                <a:cxn ang="0">
                  <a:pos x="148" y="9"/>
                </a:cxn>
                <a:cxn ang="0">
                  <a:pos x="135" y="17"/>
                </a:cxn>
                <a:cxn ang="0">
                  <a:pos x="121" y="26"/>
                </a:cxn>
                <a:cxn ang="0">
                  <a:pos x="109" y="34"/>
                </a:cxn>
                <a:cxn ang="0">
                  <a:pos x="92" y="46"/>
                </a:cxn>
                <a:cxn ang="0">
                  <a:pos x="77" y="58"/>
                </a:cxn>
                <a:cxn ang="0">
                  <a:pos x="56" y="63"/>
                </a:cxn>
              </a:cxnLst>
              <a:rect l="0" t="0" r="r" b="b"/>
              <a:pathLst>
                <a:path w="221" h="170">
                  <a:moveTo>
                    <a:pt x="56" y="63"/>
                  </a:moveTo>
                  <a:lnTo>
                    <a:pt x="56" y="75"/>
                  </a:lnTo>
                  <a:lnTo>
                    <a:pt x="56" y="85"/>
                  </a:lnTo>
                  <a:lnTo>
                    <a:pt x="56" y="97"/>
                  </a:lnTo>
                  <a:lnTo>
                    <a:pt x="56" y="109"/>
                  </a:lnTo>
                  <a:lnTo>
                    <a:pt x="53" y="109"/>
                  </a:lnTo>
                  <a:lnTo>
                    <a:pt x="48" y="118"/>
                  </a:lnTo>
                  <a:lnTo>
                    <a:pt x="32" y="118"/>
                  </a:lnTo>
                  <a:lnTo>
                    <a:pt x="17" y="118"/>
                  </a:lnTo>
                  <a:lnTo>
                    <a:pt x="12" y="123"/>
                  </a:lnTo>
                  <a:lnTo>
                    <a:pt x="2" y="123"/>
                  </a:lnTo>
                  <a:lnTo>
                    <a:pt x="0" y="130"/>
                  </a:lnTo>
                  <a:lnTo>
                    <a:pt x="3" y="133"/>
                  </a:lnTo>
                  <a:lnTo>
                    <a:pt x="3" y="138"/>
                  </a:lnTo>
                  <a:lnTo>
                    <a:pt x="12" y="145"/>
                  </a:lnTo>
                  <a:lnTo>
                    <a:pt x="19" y="155"/>
                  </a:lnTo>
                  <a:lnTo>
                    <a:pt x="22" y="157"/>
                  </a:lnTo>
                  <a:lnTo>
                    <a:pt x="25" y="155"/>
                  </a:lnTo>
                  <a:lnTo>
                    <a:pt x="29" y="155"/>
                  </a:lnTo>
                  <a:lnTo>
                    <a:pt x="31" y="159"/>
                  </a:lnTo>
                  <a:lnTo>
                    <a:pt x="29" y="161"/>
                  </a:lnTo>
                  <a:lnTo>
                    <a:pt x="29" y="162"/>
                  </a:lnTo>
                  <a:lnTo>
                    <a:pt x="32" y="166"/>
                  </a:lnTo>
                  <a:lnTo>
                    <a:pt x="34" y="166"/>
                  </a:lnTo>
                  <a:lnTo>
                    <a:pt x="32" y="162"/>
                  </a:lnTo>
                  <a:lnTo>
                    <a:pt x="39" y="161"/>
                  </a:lnTo>
                  <a:lnTo>
                    <a:pt x="49" y="169"/>
                  </a:lnTo>
                  <a:lnTo>
                    <a:pt x="49" y="159"/>
                  </a:lnTo>
                  <a:lnTo>
                    <a:pt x="53" y="154"/>
                  </a:lnTo>
                  <a:lnTo>
                    <a:pt x="56" y="145"/>
                  </a:lnTo>
                  <a:lnTo>
                    <a:pt x="65" y="142"/>
                  </a:lnTo>
                  <a:lnTo>
                    <a:pt x="77" y="140"/>
                  </a:lnTo>
                  <a:lnTo>
                    <a:pt x="87" y="145"/>
                  </a:lnTo>
                  <a:lnTo>
                    <a:pt x="95" y="152"/>
                  </a:lnTo>
                  <a:lnTo>
                    <a:pt x="97" y="152"/>
                  </a:lnTo>
                  <a:lnTo>
                    <a:pt x="102" y="147"/>
                  </a:lnTo>
                  <a:lnTo>
                    <a:pt x="109" y="147"/>
                  </a:lnTo>
                  <a:lnTo>
                    <a:pt x="119" y="154"/>
                  </a:lnTo>
                  <a:lnTo>
                    <a:pt x="128" y="155"/>
                  </a:lnTo>
                  <a:lnTo>
                    <a:pt x="131" y="154"/>
                  </a:lnTo>
                  <a:lnTo>
                    <a:pt x="141" y="147"/>
                  </a:lnTo>
                  <a:lnTo>
                    <a:pt x="160" y="145"/>
                  </a:lnTo>
                  <a:lnTo>
                    <a:pt x="169" y="149"/>
                  </a:lnTo>
                  <a:lnTo>
                    <a:pt x="176" y="143"/>
                  </a:lnTo>
                  <a:lnTo>
                    <a:pt x="179" y="143"/>
                  </a:lnTo>
                  <a:lnTo>
                    <a:pt x="181" y="140"/>
                  </a:lnTo>
                  <a:lnTo>
                    <a:pt x="186" y="140"/>
                  </a:lnTo>
                  <a:lnTo>
                    <a:pt x="184" y="133"/>
                  </a:lnTo>
                  <a:lnTo>
                    <a:pt x="184" y="130"/>
                  </a:lnTo>
                  <a:lnTo>
                    <a:pt x="186" y="128"/>
                  </a:lnTo>
                  <a:lnTo>
                    <a:pt x="188" y="121"/>
                  </a:lnTo>
                  <a:lnTo>
                    <a:pt x="211" y="96"/>
                  </a:lnTo>
                  <a:lnTo>
                    <a:pt x="213" y="72"/>
                  </a:lnTo>
                  <a:lnTo>
                    <a:pt x="217" y="51"/>
                  </a:lnTo>
                  <a:lnTo>
                    <a:pt x="220" y="46"/>
                  </a:lnTo>
                  <a:lnTo>
                    <a:pt x="211" y="39"/>
                  </a:lnTo>
                  <a:lnTo>
                    <a:pt x="206" y="31"/>
                  </a:lnTo>
                  <a:lnTo>
                    <a:pt x="206" y="7"/>
                  </a:lnTo>
                  <a:lnTo>
                    <a:pt x="201" y="9"/>
                  </a:lnTo>
                  <a:lnTo>
                    <a:pt x="199" y="5"/>
                  </a:lnTo>
                  <a:lnTo>
                    <a:pt x="191" y="0"/>
                  </a:lnTo>
                  <a:lnTo>
                    <a:pt x="160" y="0"/>
                  </a:lnTo>
                  <a:lnTo>
                    <a:pt x="153" y="5"/>
                  </a:lnTo>
                  <a:lnTo>
                    <a:pt x="148" y="9"/>
                  </a:lnTo>
                  <a:lnTo>
                    <a:pt x="141" y="14"/>
                  </a:lnTo>
                  <a:lnTo>
                    <a:pt x="135" y="17"/>
                  </a:lnTo>
                  <a:lnTo>
                    <a:pt x="128" y="22"/>
                  </a:lnTo>
                  <a:lnTo>
                    <a:pt x="121" y="26"/>
                  </a:lnTo>
                  <a:lnTo>
                    <a:pt x="114" y="31"/>
                  </a:lnTo>
                  <a:lnTo>
                    <a:pt x="109" y="34"/>
                  </a:lnTo>
                  <a:lnTo>
                    <a:pt x="100" y="41"/>
                  </a:lnTo>
                  <a:lnTo>
                    <a:pt x="92" y="46"/>
                  </a:lnTo>
                  <a:lnTo>
                    <a:pt x="85" y="53"/>
                  </a:lnTo>
                  <a:lnTo>
                    <a:pt x="77" y="58"/>
                  </a:lnTo>
                  <a:lnTo>
                    <a:pt x="66" y="62"/>
                  </a:lnTo>
                  <a:lnTo>
                    <a:pt x="56" y="63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Freeform 132">
              <a:extLst>
                <a:ext uri="{FF2B5EF4-FFF2-40B4-BE49-F238E27FC236}">
                  <a16:creationId xmlns:a16="http://schemas.microsoft.com/office/drawing/2014/main" id="{62F41448-AC56-8842-9873-B8BA40BE0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5229" y="2392165"/>
              <a:ext cx="29583" cy="57054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12" y="14"/>
                </a:cxn>
                <a:cxn ang="0">
                  <a:pos x="16" y="16"/>
                </a:cxn>
                <a:cxn ang="0">
                  <a:pos x="14" y="26"/>
                </a:cxn>
                <a:cxn ang="0">
                  <a:pos x="16" y="36"/>
                </a:cxn>
                <a:cxn ang="0">
                  <a:pos x="12" y="46"/>
                </a:cxn>
                <a:cxn ang="0">
                  <a:pos x="0" y="57"/>
                </a:cxn>
                <a:cxn ang="0">
                  <a:pos x="4" y="68"/>
                </a:cxn>
                <a:cxn ang="0">
                  <a:pos x="11" y="70"/>
                </a:cxn>
                <a:cxn ang="0">
                  <a:pos x="12" y="77"/>
                </a:cxn>
                <a:cxn ang="0">
                  <a:pos x="12" y="80"/>
                </a:cxn>
                <a:cxn ang="0">
                  <a:pos x="24" y="87"/>
                </a:cxn>
                <a:cxn ang="0">
                  <a:pos x="28" y="116"/>
                </a:cxn>
                <a:cxn ang="0">
                  <a:pos x="35" y="113"/>
                </a:cxn>
                <a:cxn ang="0">
                  <a:pos x="38" y="108"/>
                </a:cxn>
                <a:cxn ang="0">
                  <a:pos x="36" y="99"/>
                </a:cxn>
                <a:cxn ang="0">
                  <a:pos x="38" y="94"/>
                </a:cxn>
                <a:cxn ang="0">
                  <a:pos x="55" y="82"/>
                </a:cxn>
                <a:cxn ang="0">
                  <a:pos x="55" y="80"/>
                </a:cxn>
                <a:cxn ang="0">
                  <a:pos x="55" y="70"/>
                </a:cxn>
                <a:cxn ang="0">
                  <a:pos x="52" y="68"/>
                </a:cxn>
                <a:cxn ang="0">
                  <a:pos x="48" y="63"/>
                </a:cxn>
                <a:cxn ang="0">
                  <a:pos x="45" y="63"/>
                </a:cxn>
                <a:cxn ang="0">
                  <a:pos x="43" y="62"/>
                </a:cxn>
                <a:cxn ang="0">
                  <a:pos x="40" y="62"/>
                </a:cxn>
                <a:cxn ang="0">
                  <a:pos x="36" y="60"/>
                </a:cxn>
                <a:cxn ang="0">
                  <a:pos x="35" y="57"/>
                </a:cxn>
                <a:cxn ang="0">
                  <a:pos x="35" y="53"/>
                </a:cxn>
                <a:cxn ang="0">
                  <a:pos x="38" y="55"/>
                </a:cxn>
                <a:cxn ang="0">
                  <a:pos x="40" y="51"/>
                </a:cxn>
                <a:cxn ang="0">
                  <a:pos x="48" y="43"/>
                </a:cxn>
                <a:cxn ang="0">
                  <a:pos x="53" y="34"/>
                </a:cxn>
                <a:cxn ang="0">
                  <a:pos x="52" y="29"/>
                </a:cxn>
                <a:cxn ang="0">
                  <a:pos x="47" y="26"/>
                </a:cxn>
                <a:cxn ang="0">
                  <a:pos x="45" y="19"/>
                </a:cxn>
                <a:cxn ang="0">
                  <a:pos x="45" y="16"/>
                </a:cxn>
                <a:cxn ang="0">
                  <a:pos x="50" y="14"/>
                </a:cxn>
                <a:cxn ang="0">
                  <a:pos x="52" y="7"/>
                </a:cxn>
                <a:cxn ang="0">
                  <a:pos x="52" y="4"/>
                </a:cxn>
                <a:cxn ang="0">
                  <a:pos x="43" y="9"/>
                </a:cxn>
                <a:cxn ang="0">
                  <a:pos x="41" y="9"/>
                </a:cxn>
                <a:cxn ang="0">
                  <a:pos x="40" y="4"/>
                </a:cxn>
                <a:cxn ang="0">
                  <a:pos x="40" y="2"/>
                </a:cxn>
                <a:cxn ang="0">
                  <a:pos x="33" y="0"/>
                </a:cxn>
                <a:cxn ang="0">
                  <a:pos x="26" y="2"/>
                </a:cxn>
                <a:cxn ang="0">
                  <a:pos x="19" y="5"/>
                </a:cxn>
              </a:cxnLst>
              <a:rect l="0" t="0" r="r" b="b"/>
              <a:pathLst>
                <a:path w="56" h="117">
                  <a:moveTo>
                    <a:pt x="19" y="5"/>
                  </a:moveTo>
                  <a:lnTo>
                    <a:pt x="12" y="14"/>
                  </a:lnTo>
                  <a:lnTo>
                    <a:pt x="16" y="16"/>
                  </a:lnTo>
                  <a:lnTo>
                    <a:pt x="14" y="26"/>
                  </a:lnTo>
                  <a:lnTo>
                    <a:pt x="16" y="36"/>
                  </a:lnTo>
                  <a:lnTo>
                    <a:pt x="12" y="46"/>
                  </a:lnTo>
                  <a:lnTo>
                    <a:pt x="0" y="57"/>
                  </a:lnTo>
                  <a:lnTo>
                    <a:pt x="4" y="68"/>
                  </a:lnTo>
                  <a:lnTo>
                    <a:pt x="11" y="70"/>
                  </a:lnTo>
                  <a:lnTo>
                    <a:pt x="12" y="77"/>
                  </a:lnTo>
                  <a:lnTo>
                    <a:pt x="12" y="80"/>
                  </a:lnTo>
                  <a:lnTo>
                    <a:pt x="24" y="87"/>
                  </a:lnTo>
                  <a:lnTo>
                    <a:pt x="28" y="116"/>
                  </a:lnTo>
                  <a:lnTo>
                    <a:pt x="35" y="113"/>
                  </a:lnTo>
                  <a:lnTo>
                    <a:pt x="38" y="108"/>
                  </a:lnTo>
                  <a:lnTo>
                    <a:pt x="36" y="99"/>
                  </a:lnTo>
                  <a:lnTo>
                    <a:pt x="38" y="94"/>
                  </a:lnTo>
                  <a:lnTo>
                    <a:pt x="55" y="82"/>
                  </a:lnTo>
                  <a:lnTo>
                    <a:pt x="55" y="80"/>
                  </a:lnTo>
                  <a:lnTo>
                    <a:pt x="55" y="70"/>
                  </a:lnTo>
                  <a:lnTo>
                    <a:pt x="52" y="68"/>
                  </a:lnTo>
                  <a:lnTo>
                    <a:pt x="48" y="63"/>
                  </a:lnTo>
                  <a:lnTo>
                    <a:pt x="45" y="63"/>
                  </a:lnTo>
                  <a:lnTo>
                    <a:pt x="43" y="62"/>
                  </a:lnTo>
                  <a:lnTo>
                    <a:pt x="40" y="62"/>
                  </a:lnTo>
                  <a:lnTo>
                    <a:pt x="36" y="60"/>
                  </a:lnTo>
                  <a:lnTo>
                    <a:pt x="35" y="57"/>
                  </a:lnTo>
                  <a:lnTo>
                    <a:pt x="35" y="53"/>
                  </a:lnTo>
                  <a:lnTo>
                    <a:pt x="38" y="55"/>
                  </a:lnTo>
                  <a:lnTo>
                    <a:pt x="40" y="51"/>
                  </a:lnTo>
                  <a:lnTo>
                    <a:pt x="48" y="43"/>
                  </a:lnTo>
                  <a:lnTo>
                    <a:pt x="53" y="34"/>
                  </a:lnTo>
                  <a:lnTo>
                    <a:pt x="52" y="29"/>
                  </a:lnTo>
                  <a:lnTo>
                    <a:pt x="47" y="26"/>
                  </a:lnTo>
                  <a:lnTo>
                    <a:pt x="45" y="19"/>
                  </a:lnTo>
                  <a:lnTo>
                    <a:pt x="45" y="16"/>
                  </a:lnTo>
                  <a:lnTo>
                    <a:pt x="50" y="14"/>
                  </a:lnTo>
                  <a:lnTo>
                    <a:pt x="52" y="7"/>
                  </a:lnTo>
                  <a:lnTo>
                    <a:pt x="52" y="4"/>
                  </a:lnTo>
                  <a:lnTo>
                    <a:pt x="43" y="9"/>
                  </a:lnTo>
                  <a:lnTo>
                    <a:pt x="41" y="9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33" y="0"/>
                  </a:lnTo>
                  <a:lnTo>
                    <a:pt x="26" y="2"/>
                  </a:lnTo>
                  <a:lnTo>
                    <a:pt x="19" y="5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Freeform 133">
              <a:extLst>
                <a:ext uri="{FF2B5EF4-FFF2-40B4-BE49-F238E27FC236}">
                  <a16:creationId xmlns:a16="http://schemas.microsoft.com/office/drawing/2014/main" id="{F118DA78-4AF9-234B-A0F8-FD23758CA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7068" y="2538457"/>
              <a:ext cx="48601" cy="39986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6" y="5"/>
                </a:cxn>
                <a:cxn ang="0">
                  <a:pos x="16" y="11"/>
                </a:cxn>
                <a:cxn ang="0">
                  <a:pos x="12" y="14"/>
                </a:cxn>
                <a:cxn ang="0">
                  <a:pos x="9" y="14"/>
                </a:cxn>
                <a:cxn ang="0">
                  <a:pos x="0" y="45"/>
                </a:cxn>
                <a:cxn ang="0">
                  <a:pos x="2" y="53"/>
                </a:cxn>
                <a:cxn ang="0">
                  <a:pos x="7" y="55"/>
                </a:cxn>
                <a:cxn ang="0">
                  <a:pos x="9" y="52"/>
                </a:cxn>
                <a:cxn ang="0">
                  <a:pos x="11" y="52"/>
                </a:cxn>
                <a:cxn ang="0">
                  <a:pos x="14" y="57"/>
                </a:cxn>
                <a:cxn ang="0">
                  <a:pos x="19" y="46"/>
                </a:cxn>
                <a:cxn ang="0">
                  <a:pos x="24" y="50"/>
                </a:cxn>
                <a:cxn ang="0">
                  <a:pos x="26" y="53"/>
                </a:cxn>
                <a:cxn ang="0">
                  <a:pos x="33" y="52"/>
                </a:cxn>
                <a:cxn ang="0">
                  <a:pos x="35" y="50"/>
                </a:cxn>
                <a:cxn ang="0">
                  <a:pos x="38" y="52"/>
                </a:cxn>
                <a:cxn ang="0">
                  <a:pos x="41" y="50"/>
                </a:cxn>
                <a:cxn ang="0">
                  <a:pos x="46" y="53"/>
                </a:cxn>
                <a:cxn ang="0">
                  <a:pos x="52" y="52"/>
                </a:cxn>
                <a:cxn ang="0">
                  <a:pos x="58" y="57"/>
                </a:cxn>
                <a:cxn ang="0">
                  <a:pos x="65" y="63"/>
                </a:cxn>
                <a:cxn ang="0">
                  <a:pos x="72" y="69"/>
                </a:cxn>
                <a:cxn ang="0">
                  <a:pos x="76" y="75"/>
                </a:cxn>
                <a:cxn ang="0">
                  <a:pos x="82" y="81"/>
                </a:cxn>
                <a:cxn ang="0">
                  <a:pos x="91" y="75"/>
                </a:cxn>
                <a:cxn ang="0">
                  <a:pos x="82" y="70"/>
                </a:cxn>
                <a:cxn ang="0">
                  <a:pos x="81" y="65"/>
                </a:cxn>
                <a:cxn ang="0">
                  <a:pos x="77" y="63"/>
                </a:cxn>
                <a:cxn ang="0">
                  <a:pos x="76" y="60"/>
                </a:cxn>
                <a:cxn ang="0">
                  <a:pos x="72" y="60"/>
                </a:cxn>
                <a:cxn ang="0">
                  <a:pos x="67" y="50"/>
                </a:cxn>
                <a:cxn ang="0">
                  <a:pos x="60" y="48"/>
                </a:cxn>
                <a:cxn ang="0">
                  <a:pos x="57" y="45"/>
                </a:cxn>
                <a:cxn ang="0">
                  <a:pos x="52" y="45"/>
                </a:cxn>
                <a:cxn ang="0">
                  <a:pos x="50" y="41"/>
                </a:cxn>
                <a:cxn ang="0">
                  <a:pos x="50" y="38"/>
                </a:cxn>
                <a:cxn ang="0">
                  <a:pos x="48" y="38"/>
                </a:cxn>
                <a:cxn ang="0">
                  <a:pos x="46" y="38"/>
                </a:cxn>
                <a:cxn ang="0">
                  <a:pos x="46" y="41"/>
                </a:cxn>
                <a:cxn ang="0">
                  <a:pos x="45" y="41"/>
                </a:cxn>
                <a:cxn ang="0">
                  <a:pos x="43" y="36"/>
                </a:cxn>
                <a:cxn ang="0">
                  <a:pos x="41" y="34"/>
                </a:cxn>
                <a:cxn ang="0">
                  <a:pos x="38" y="29"/>
                </a:cxn>
                <a:cxn ang="0">
                  <a:pos x="33" y="7"/>
                </a:cxn>
                <a:cxn ang="0">
                  <a:pos x="28" y="0"/>
                </a:cxn>
              </a:cxnLst>
              <a:rect l="0" t="0" r="r" b="b"/>
              <a:pathLst>
                <a:path w="92" h="82">
                  <a:moveTo>
                    <a:pt x="28" y="0"/>
                  </a:moveTo>
                  <a:lnTo>
                    <a:pt x="26" y="5"/>
                  </a:lnTo>
                  <a:lnTo>
                    <a:pt x="16" y="11"/>
                  </a:lnTo>
                  <a:lnTo>
                    <a:pt x="12" y="14"/>
                  </a:lnTo>
                  <a:lnTo>
                    <a:pt x="9" y="14"/>
                  </a:lnTo>
                  <a:lnTo>
                    <a:pt x="0" y="45"/>
                  </a:lnTo>
                  <a:lnTo>
                    <a:pt x="2" y="53"/>
                  </a:lnTo>
                  <a:lnTo>
                    <a:pt x="7" y="55"/>
                  </a:lnTo>
                  <a:lnTo>
                    <a:pt x="9" y="52"/>
                  </a:lnTo>
                  <a:lnTo>
                    <a:pt x="11" y="52"/>
                  </a:lnTo>
                  <a:lnTo>
                    <a:pt x="14" y="57"/>
                  </a:lnTo>
                  <a:lnTo>
                    <a:pt x="19" y="46"/>
                  </a:lnTo>
                  <a:lnTo>
                    <a:pt x="24" y="50"/>
                  </a:lnTo>
                  <a:lnTo>
                    <a:pt x="26" y="53"/>
                  </a:lnTo>
                  <a:lnTo>
                    <a:pt x="33" y="52"/>
                  </a:lnTo>
                  <a:lnTo>
                    <a:pt x="35" y="50"/>
                  </a:lnTo>
                  <a:lnTo>
                    <a:pt x="38" y="52"/>
                  </a:lnTo>
                  <a:lnTo>
                    <a:pt x="41" y="50"/>
                  </a:lnTo>
                  <a:lnTo>
                    <a:pt x="46" y="53"/>
                  </a:lnTo>
                  <a:lnTo>
                    <a:pt x="52" y="52"/>
                  </a:lnTo>
                  <a:lnTo>
                    <a:pt x="58" y="57"/>
                  </a:lnTo>
                  <a:lnTo>
                    <a:pt x="65" y="63"/>
                  </a:lnTo>
                  <a:lnTo>
                    <a:pt x="72" y="69"/>
                  </a:lnTo>
                  <a:lnTo>
                    <a:pt x="76" y="75"/>
                  </a:lnTo>
                  <a:lnTo>
                    <a:pt x="82" y="81"/>
                  </a:lnTo>
                  <a:lnTo>
                    <a:pt x="91" y="75"/>
                  </a:lnTo>
                  <a:lnTo>
                    <a:pt x="82" y="70"/>
                  </a:lnTo>
                  <a:lnTo>
                    <a:pt x="81" y="65"/>
                  </a:lnTo>
                  <a:lnTo>
                    <a:pt x="77" y="63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67" y="50"/>
                  </a:lnTo>
                  <a:lnTo>
                    <a:pt x="60" y="48"/>
                  </a:lnTo>
                  <a:lnTo>
                    <a:pt x="57" y="45"/>
                  </a:lnTo>
                  <a:lnTo>
                    <a:pt x="52" y="45"/>
                  </a:lnTo>
                  <a:lnTo>
                    <a:pt x="50" y="41"/>
                  </a:lnTo>
                  <a:lnTo>
                    <a:pt x="50" y="38"/>
                  </a:lnTo>
                  <a:lnTo>
                    <a:pt x="48" y="38"/>
                  </a:lnTo>
                  <a:lnTo>
                    <a:pt x="46" y="38"/>
                  </a:lnTo>
                  <a:lnTo>
                    <a:pt x="46" y="41"/>
                  </a:lnTo>
                  <a:lnTo>
                    <a:pt x="45" y="41"/>
                  </a:lnTo>
                  <a:lnTo>
                    <a:pt x="43" y="36"/>
                  </a:lnTo>
                  <a:lnTo>
                    <a:pt x="41" y="34"/>
                  </a:lnTo>
                  <a:lnTo>
                    <a:pt x="38" y="29"/>
                  </a:lnTo>
                  <a:lnTo>
                    <a:pt x="33" y="7"/>
                  </a:lnTo>
                  <a:lnTo>
                    <a:pt x="28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Freeform 134">
              <a:extLst>
                <a:ext uri="{FF2B5EF4-FFF2-40B4-BE49-F238E27FC236}">
                  <a16:creationId xmlns:a16="http://schemas.microsoft.com/office/drawing/2014/main" id="{6B62D6E0-21EA-614D-87EA-F92FB4F78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7217" y="2575030"/>
              <a:ext cx="11094" cy="13166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6" y="6"/>
                </a:cxn>
                <a:cxn ang="0">
                  <a:pos x="5" y="7"/>
                </a:cxn>
                <a:cxn ang="0">
                  <a:pos x="3" y="16"/>
                </a:cxn>
                <a:cxn ang="0">
                  <a:pos x="0" y="23"/>
                </a:cxn>
                <a:cxn ang="0">
                  <a:pos x="1" y="26"/>
                </a:cxn>
                <a:cxn ang="0">
                  <a:pos x="6" y="26"/>
                </a:cxn>
                <a:cxn ang="0">
                  <a:pos x="10" y="24"/>
                </a:cxn>
                <a:cxn ang="0">
                  <a:pos x="13" y="26"/>
                </a:cxn>
                <a:cxn ang="0">
                  <a:pos x="18" y="19"/>
                </a:cxn>
                <a:cxn ang="0">
                  <a:pos x="17" y="17"/>
                </a:cxn>
                <a:cxn ang="0">
                  <a:pos x="10" y="19"/>
                </a:cxn>
                <a:cxn ang="0">
                  <a:pos x="8" y="17"/>
                </a:cxn>
                <a:cxn ang="0">
                  <a:pos x="11" y="17"/>
                </a:cxn>
                <a:cxn ang="0">
                  <a:pos x="11" y="14"/>
                </a:cxn>
                <a:cxn ang="0">
                  <a:pos x="20" y="11"/>
                </a:cxn>
                <a:cxn ang="0">
                  <a:pos x="20" y="6"/>
                </a:cxn>
                <a:cxn ang="0">
                  <a:pos x="15" y="0"/>
                </a:cxn>
              </a:cxnLst>
              <a:rect l="0" t="0" r="r" b="b"/>
              <a:pathLst>
                <a:path w="21" h="27">
                  <a:moveTo>
                    <a:pt x="15" y="0"/>
                  </a:moveTo>
                  <a:lnTo>
                    <a:pt x="6" y="6"/>
                  </a:lnTo>
                  <a:lnTo>
                    <a:pt x="5" y="7"/>
                  </a:lnTo>
                  <a:lnTo>
                    <a:pt x="3" y="16"/>
                  </a:lnTo>
                  <a:lnTo>
                    <a:pt x="0" y="23"/>
                  </a:lnTo>
                  <a:lnTo>
                    <a:pt x="1" y="26"/>
                  </a:lnTo>
                  <a:lnTo>
                    <a:pt x="6" y="26"/>
                  </a:lnTo>
                  <a:lnTo>
                    <a:pt x="10" y="24"/>
                  </a:lnTo>
                  <a:lnTo>
                    <a:pt x="13" y="26"/>
                  </a:lnTo>
                  <a:lnTo>
                    <a:pt x="18" y="19"/>
                  </a:lnTo>
                  <a:lnTo>
                    <a:pt x="17" y="17"/>
                  </a:lnTo>
                  <a:lnTo>
                    <a:pt x="10" y="19"/>
                  </a:lnTo>
                  <a:lnTo>
                    <a:pt x="8" y="17"/>
                  </a:lnTo>
                  <a:lnTo>
                    <a:pt x="11" y="17"/>
                  </a:lnTo>
                  <a:lnTo>
                    <a:pt x="11" y="14"/>
                  </a:lnTo>
                  <a:lnTo>
                    <a:pt x="20" y="11"/>
                  </a:lnTo>
                  <a:lnTo>
                    <a:pt x="20" y="6"/>
                  </a:lnTo>
                  <a:lnTo>
                    <a:pt x="15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Freeform 135">
              <a:extLst>
                <a:ext uri="{FF2B5EF4-FFF2-40B4-BE49-F238E27FC236}">
                  <a16:creationId xmlns:a16="http://schemas.microsoft.com/office/drawing/2014/main" id="{EA892FEF-4B9D-9245-8B03-1A602864D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419" y="2567716"/>
              <a:ext cx="86109" cy="65344"/>
            </a:xfrm>
            <a:custGeom>
              <a:avLst/>
              <a:gdLst/>
              <a:ahLst/>
              <a:cxnLst>
                <a:cxn ang="0">
                  <a:pos x="22" y="104"/>
                </a:cxn>
                <a:cxn ang="0">
                  <a:pos x="32" y="111"/>
                </a:cxn>
                <a:cxn ang="0">
                  <a:pos x="39" y="118"/>
                </a:cxn>
                <a:cxn ang="0">
                  <a:pos x="39" y="126"/>
                </a:cxn>
                <a:cxn ang="0">
                  <a:pos x="47" y="131"/>
                </a:cxn>
                <a:cxn ang="0">
                  <a:pos x="49" y="133"/>
                </a:cxn>
                <a:cxn ang="0">
                  <a:pos x="58" y="131"/>
                </a:cxn>
                <a:cxn ang="0">
                  <a:pos x="68" y="130"/>
                </a:cxn>
                <a:cxn ang="0">
                  <a:pos x="76" y="125"/>
                </a:cxn>
                <a:cxn ang="0">
                  <a:pos x="83" y="119"/>
                </a:cxn>
                <a:cxn ang="0">
                  <a:pos x="88" y="104"/>
                </a:cxn>
                <a:cxn ang="0">
                  <a:pos x="95" y="97"/>
                </a:cxn>
                <a:cxn ang="0">
                  <a:pos x="116" y="102"/>
                </a:cxn>
                <a:cxn ang="0">
                  <a:pos x="129" y="85"/>
                </a:cxn>
                <a:cxn ang="0">
                  <a:pos x="140" y="70"/>
                </a:cxn>
                <a:cxn ang="0">
                  <a:pos x="148" y="39"/>
                </a:cxn>
                <a:cxn ang="0">
                  <a:pos x="162" y="31"/>
                </a:cxn>
                <a:cxn ang="0">
                  <a:pos x="157" y="19"/>
                </a:cxn>
                <a:cxn ang="0">
                  <a:pos x="150" y="0"/>
                </a:cxn>
                <a:cxn ang="0">
                  <a:pos x="143" y="3"/>
                </a:cxn>
                <a:cxn ang="0">
                  <a:pos x="133" y="9"/>
                </a:cxn>
                <a:cxn ang="0">
                  <a:pos x="105" y="7"/>
                </a:cxn>
                <a:cxn ang="0">
                  <a:pos x="92" y="15"/>
                </a:cxn>
                <a:cxn ang="0">
                  <a:pos x="73" y="7"/>
                </a:cxn>
                <a:cxn ang="0">
                  <a:pos x="61" y="12"/>
                </a:cxn>
                <a:cxn ang="0">
                  <a:pos x="51" y="5"/>
                </a:cxn>
                <a:cxn ang="0">
                  <a:pos x="29" y="2"/>
                </a:cxn>
                <a:cxn ang="0">
                  <a:pos x="17" y="14"/>
                </a:cxn>
                <a:cxn ang="0">
                  <a:pos x="13" y="29"/>
                </a:cxn>
                <a:cxn ang="0">
                  <a:pos x="15" y="39"/>
                </a:cxn>
                <a:cxn ang="0">
                  <a:pos x="12" y="49"/>
                </a:cxn>
                <a:cxn ang="0">
                  <a:pos x="13" y="55"/>
                </a:cxn>
                <a:cxn ang="0">
                  <a:pos x="6" y="67"/>
                </a:cxn>
                <a:cxn ang="0">
                  <a:pos x="0" y="94"/>
                </a:cxn>
              </a:cxnLst>
              <a:rect l="0" t="0" r="r" b="b"/>
              <a:pathLst>
                <a:path w="163" h="134">
                  <a:moveTo>
                    <a:pt x="1" y="104"/>
                  </a:moveTo>
                  <a:lnTo>
                    <a:pt x="22" y="104"/>
                  </a:lnTo>
                  <a:lnTo>
                    <a:pt x="30" y="107"/>
                  </a:lnTo>
                  <a:lnTo>
                    <a:pt x="32" y="111"/>
                  </a:lnTo>
                  <a:lnTo>
                    <a:pt x="35" y="116"/>
                  </a:lnTo>
                  <a:lnTo>
                    <a:pt x="39" y="118"/>
                  </a:lnTo>
                  <a:lnTo>
                    <a:pt x="37" y="118"/>
                  </a:lnTo>
                  <a:lnTo>
                    <a:pt x="39" y="126"/>
                  </a:lnTo>
                  <a:lnTo>
                    <a:pt x="42" y="131"/>
                  </a:lnTo>
                  <a:lnTo>
                    <a:pt x="47" y="131"/>
                  </a:lnTo>
                  <a:lnTo>
                    <a:pt x="49" y="131"/>
                  </a:lnTo>
                  <a:lnTo>
                    <a:pt x="49" y="133"/>
                  </a:lnTo>
                  <a:lnTo>
                    <a:pt x="53" y="131"/>
                  </a:lnTo>
                  <a:lnTo>
                    <a:pt x="58" y="131"/>
                  </a:lnTo>
                  <a:lnTo>
                    <a:pt x="61" y="128"/>
                  </a:lnTo>
                  <a:lnTo>
                    <a:pt x="68" y="130"/>
                  </a:lnTo>
                  <a:lnTo>
                    <a:pt x="76" y="130"/>
                  </a:lnTo>
                  <a:lnTo>
                    <a:pt x="76" y="125"/>
                  </a:lnTo>
                  <a:lnTo>
                    <a:pt x="80" y="126"/>
                  </a:lnTo>
                  <a:lnTo>
                    <a:pt x="83" y="119"/>
                  </a:lnTo>
                  <a:lnTo>
                    <a:pt x="85" y="111"/>
                  </a:lnTo>
                  <a:lnTo>
                    <a:pt x="88" y="104"/>
                  </a:lnTo>
                  <a:lnTo>
                    <a:pt x="94" y="101"/>
                  </a:lnTo>
                  <a:lnTo>
                    <a:pt x="95" y="97"/>
                  </a:lnTo>
                  <a:lnTo>
                    <a:pt x="109" y="96"/>
                  </a:lnTo>
                  <a:lnTo>
                    <a:pt x="116" y="102"/>
                  </a:lnTo>
                  <a:lnTo>
                    <a:pt x="121" y="102"/>
                  </a:lnTo>
                  <a:lnTo>
                    <a:pt x="129" y="85"/>
                  </a:lnTo>
                  <a:lnTo>
                    <a:pt x="133" y="75"/>
                  </a:lnTo>
                  <a:lnTo>
                    <a:pt x="140" y="70"/>
                  </a:lnTo>
                  <a:lnTo>
                    <a:pt x="143" y="55"/>
                  </a:lnTo>
                  <a:lnTo>
                    <a:pt x="148" y="39"/>
                  </a:lnTo>
                  <a:lnTo>
                    <a:pt x="152" y="36"/>
                  </a:lnTo>
                  <a:lnTo>
                    <a:pt x="162" y="31"/>
                  </a:lnTo>
                  <a:lnTo>
                    <a:pt x="162" y="22"/>
                  </a:lnTo>
                  <a:lnTo>
                    <a:pt x="157" y="19"/>
                  </a:lnTo>
                  <a:lnTo>
                    <a:pt x="157" y="10"/>
                  </a:lnTo>
                  <a:lnTo>
                    <a:pt x="150" y="0"/>
                  </a:lnTo>
                  <a:lnTo>
                    <a:pt x="145" y="0"/>
                  </a:lnTo>
                  <a:lnTo>
                    <a:pt x="143" y="3"/>
                  </a:lnTo>
                  <a:lnTo>
                    <a:pt x="140" y="3"/>
                  </a:lnTo>
                  <a:lnTo>
                    <a:pt x="133" y="9"/>
                  </a:lnTo>
                  <a:lnTo>
                    <a:pt x="124" y="5"/>
                  </a:lnTo>
                  <a:lnTo>
                    <a:pt x="105" y="7"/>
                  </a:lnTo>
                  <a:lnTo>
                    <a:pt x="95" y="14"/>
                  </a:lnTo>
                  <a:lnTo>
                    <a:pt x="92" y="15"/>
                  </a:lnTo>
                  <a:lnTo>
                    <a:pt x="83" y="14"/>
                  </a:lnTo>
                  <a:lnTo>
                    <a:pt x="73" y="7"/>
                  </a:lnTo>
                  <a:lnTo>
                    <a:pt x="66" y="7"/>
                  </a:lnTo>
                  <a:lnTo>
                    <a:pt x="61" y="12"/>
                  </a:lnTo>
                  <a:lnTo>
                    <a:pt x="59" y="12"/>
                  </a:lnTo>
                  <a:lnTo>
                    <a:pt x="51" y="5"/>
                  </a:lnTo>
                  <a:lnTo>
                    <a:pt x="41" y="0"/>
                  </a:lnTo>
                  <a:lnTo>
                    <a:pt x="29" y="2"/>
                  </a:lnTo>
                  <a:lnTo>
                    <a:pt x="20" y="5"/>
                  </a:lnTo>
                  <a:lnTo>
                    <a:pt x="17" y="14"/>
                  </a:lnTo>
                  <a:lnTo>
                    <a:pt x="13" y="19"/>
                  </a:lnTo>
                  <a:lnTo>
                    <a:pt x="13" y="29"/>
                  </a:lnTo>
                  <a:lnTo>
                    <a:pt x="12" y="34"/>
                  </a:lnTo>
                  <a:lnTo>
                    <a:pt x="15" y="39"/>
                  </a:lnTo>
                  <a:lnTo>
                    <a:pt x="15" y="48"/>
                  </a:lnTo>
                  <a:lnTo>
                    <a:pt x="12" y="49"/>
                  </a:lnTo>
                  <a:lnTo>
                    <a:pt x="13" y="53"/>
                  </a:lnTo>
                  <a:lnTo>
                    <a:pt x="13" y="55"/>
                  </a:lnTo>
                  <a:lnTo>
                    <a:pt x="6" y="60"/>
                  </a:lnTo>
                  <a:lnTo>
                    <a:pt x="6" y="67"/>
                  </a:lnTo>
                  <a:lnTo>
                    <a:pt x="1" y="73"/>
                  </a:lnTo>
                  <a:lnTo>
                    <a:pt x="0" y="94"/>
                  </a:lnTo>
                  <a:lnTo>
                    <a:pt x="1" y="104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Freeform 136">
              <a:extLst>
                <a:ext uri="{FF2B5EF4-FFF2-40B4-BE49-F238E27FC236}">
                  <a16:creationId xmlns:a16="http://schemas.microsoft.com/office/drawing/2014/main" id="{49278E40-EA58-4E42-9C8E-9D1914A19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3681" y="2572592"/>
              <a:ext cx="56526" cy="78022"/>
            </a:xfrm>
            <a:custGeom>
              <a:avLst/>
              <a:gdLst/>
              <a:ahLst/>
              <a:cxnLst>
                <a:cxn ang="0">
                  <a:pos x="39" y="150"/>
                </a:cxn>
                <a:cxn ang="0">
                  <a:pos x="51" y="150"/>
                </a:cxn>
                <a:cxn ang="0">
                  <a:pos x="66" y="152"/>
                </a:cxn>
                <a:cxn ang="0">
                  <a:pos x="85" y="152"/>
                </a:cxn>
                <a:cxn ang="0">
                  <a:pos x="97" y="154"/>
                </a:cxn>
                <a:cxn ang="0">
                  <a:pos x="104" y="159"/>
                </a:cxn>
                <a:cxn ang="0">
                  <a:pos x="106" y="155"/>
                </a:cxn>
                <a:cxn ang="0">
                  <a:pos x="106" y="142"/>
                </a:cxn>
                <a:cxn ang="0">
                  <a:pos x="104" y="142"/>
                </a:cxn>
                <a:cxn ang="0">
                  <a:pos x="94" y="135"/>
                </a:cxn>
                <a:cxn ang="0">
                  <a:pos x="83" y="115"/>
                </a:cxn>
                <a:cxn ang="0">
                  <a:pos x="83" y="99"/>
                </a:cxn>
                <a:cxn ang="0">
                  <a:pos x="89" y="94"/>
                </a:cxn>
                <a:cxn ang="0">
                  <a:pos x="95" y="79"/>
                </a:cxn>
                <a:cxn ang="0">
                  <a:pos x="90" y="62"/>
                </a:cxn>
                <a:cxn ang="0">
                  <a:pos x="87" y="60"/>
                </a:cxn>
                <a:cxn ang="0">
                  <a:pos x="80" y="57"/>
                </a:cxn>
                <a:cxn ang="0">
                  <a:pos x="77" y="50"/>
                </a:cxn>
                <a:cxn ang="0">
                  <a:pos x="77" y="46"/>
                </a:cxn>
                <a:cxn ang="0">
                  <a:pos x="80" y="43"/>
                </a:cxn>
                <a:cxn ang="0">
                  <a:pos x="92" y="45"/>
                </a:cxn>
                <a:cxn ang="0">
                  <a:pos x="94" y="43"/>
                </a:cxn>
                <a:cxn ang="0">
                  <a:pos x="94" y="39"/>
                </a:cxn>
                <a:cxn ang="0">
                  <a:pos x="87" y="29"/>
                </a:cxn>
                <a:cxn ang="0">
                  <a:pos x="89" y="17"/>
                </a:cxn>
                <a:cxn ang="0">
                  <a:pos x="83" y="4"/>
                </a:cxn>
                <a:cxn ang="0">
                  <a:pos x="82" y="2"/>
                </a:cxn>
                <a:cxn ang="0">
                  <a:pos x="80" y="0"/>
                </a:cxn>
                <a:cxn ang="0">
                  <a:pos x="77" y="0"/>
                </a:cxn>
                <a:cxn ang="0">
                  <a:pos x="77" y="9"/>
                </a:cxn>
                <a:cxn ang="0">
                  <a:pos x="82" y="12"/>
                </a:cxn>
                <a:cxn ang="0">
                  <a:pos x="82" y="21"/>
                </a:cxn>
                <a:cxn ang="0">
                  <a:pos x="72" y="26"/>
                </a:cxn>
                <a:cxn ang="0">
                  <a:pos x="68" y="29"/>
                </a:cxn>
                <a:cxn ang="0">
                  <a:pos x="63" y="45"/>
                </a:cxn>
                <a:cxn ang="0">
                  <a:pos x="60" y="60"/>
                </a:cxn>
                <a:cxn ang="0">
                  <a:pos x="53" y="65"/>
                </a:cxn>
                <a:cxn ang="0">
                  <a:pos x="49" y="75"/>
                </a:cxn>
                <a:cxn ang="0">
                  <a:pos x="41" y="92"/>
                </a:cxn>
                <a:cxn ang="0">
                  <a:pos x="36" y="92"/>
                </a:cxn>
                <a:cxn ang="0">
                  <a:pos x="29" y="86"/>
                </a:cxn>
                <a:cxn ang="0">
                  <a:pos x="15" y="87"/>
                </a:cxn>
                <a:cxn ang="0">
                  <a:pos x="14" y="91"/>
                </a:cxn>
                <a:cxn ang="0">
                  <a:pos x="8" y="94"/>
                </a:cxn>
                <a:cxn ang="0">
                  <a:pos x="5" y="101"/>
                </a:cxn>
                <a:cxn ang="0">
                  <a:pos x="3" y="109"/>
                </a:cxn>
                <a:cxn ang="0">
                  <a:pos x="0" y="116"/>
                </a:cxn>
                <a:cxn ang="0">
                  <a:pos x="2" y="120"/>
                </a:cxn>
                <a:cxn ang="0">
                  <a:pos x="5" y="120"/>
                </a:cxn>
                <a:cxn ang="0">
                  <a:pos x="7" y="125"/>
                </a:cxn>
                <a:cxn ang="0">
                  <a:pos x="12" y="128"/>
                </a:cxn>
                <a:cxn ang="0">
                  <a:pos x="17" y="126"/>
                </a:cxn>
                <a:cxn ang="0">
                  <a:pos x="15" y="132"/>
                </a:cxn>
                <a:cxn ang="0">
                  <a:pos x="17" y="133"/>
                </a:cxn>
                <a:cxn ang="0">
                  <a:pos x="20" y="137"/>
                </a:cxn>
                <a:cxn ang="0">
                  <a:pos x="17" y="152"/>
                </a:cxn>
                <a:cxn ang="0">
                  <a:pos x="39" y="150"/>
                </a:cxn>
              </a:cxnLst>
              <a:rect l="0" t="0" r="r" b="b"/>
              <a:pathLst>
                <a:path w="107" h="160">
                  <a:moveTo>
                    <a:pt x="39" y="150"/>
                  </a:moveTo>
                  <a:lnTo>
                    <a:pt x="51" y="150"/>
                  </a:lnTo>
                  <a:lnTo>
                    <a:pt x="66" y="152"/>
                  </a:lnTo>
                  <a:lnTo>
                    <a:pt x="85" y="152"/>
                  </a:lnTo>
                  <a:lnTo>
                    <a:pt x="97" y="154"/>
                  </a:lnTo>
                  <a:lnTo>
                    <a:pt x="104" y="159"/>
                  </a:lnTo>
                  <a:lnTo>
                    <a:pt x="106" y="155"/>
                  </a:lnTo>
                  <a:lnTo>
                    <a:pt x="106" y="142"/>
                  </a:lnTo>
                  <a:lnTo>
                    <a:pt x="104" y="142"/>
                  </a:lnTo>
                  <a:lnTo>
                    <a:pt x="94" y="135"/>
                  </a:lnTo>
                  <a:lnTo>
                    <a:pt x="83" y="115"/>
                  </a:lnTo>
                  <a:lnTo>
                    <a:pt x="83" y="99"/>
                  </a:lnTo>
                  <a:lnTo>
                    <a:pt x="89" y="94"/>
                  </a:lnTo>
                  <a:lnTo>
                    <a:pt x="95" y="79"/>
                  </a:lnTo>
                  <a:lnTo>
                    <a:pt x="90" y="62"/>
                  </a:lnTo>
                  <a:lnTo>
                    <a:pt x="87" y="60"/>
                  </a:lnTo>
                  <a:lnTo>
                    <a:pt x="80" y="57"/>
                  </a:lnTo>
                  <a:lnTo>
                    <a:pt x="77" y="50"/>
                  </a:lnTo>
                  <a:lnTo>
                    <a:pt x="77" y="46"/>
                  </a:lnTo>
                  <a:lnTo>
                    <a:pt x="80" y="43"/>
                  </a:lnTo>
                  <a:lnTo>
                    <a:pt x="92" y="45"/>
                  </a:lnTo>
                  <a:lnTo>
                    <a:pt x="94" y="43"/>
                  </a:lnTo>
                  <a:lnTo>
                    <a:pt x="94" y="39"/>
                  </a:lnTo>
                  <a:lnTo>
                    <a:pt x="87" y="29"/>
                  </a:lnTo>
                  <a:lnTo>
                    <a:pt x="89" y="17"/>
                  </a:lnTo>
                  <a:lnTo>
                    <a:pt x="83" y="4"/>
                  </a:lnTo>
                  <a:lnTo>
                    <a:pt x="82" y="2"/>
                  </a:lnTo>
                  <a:lnTo>
                    <a:pt x="80" y="0"/>
                  </a:lnTo>
                  <a:lnTo>
                    <a:pt x="77" y="0"/>
                  </a:lnTo>
                  <a:lnTo>
                    <a:pt x="77" y="9"/>
                  </a:lnTo>
                  <a:lnTo>
                    <a:pt x="82" y="12"/>
                  </a:lnTo>
                  <a:lnTo>
                    <a:pt x="82" y="21"/>
                  </a:lnTo>
                  <a:lnTo>
                    <a:pt x="72" y="26"/>
                  </a:lnTo>
                  <a:lnTo>
                    <a:pt x="68" y="29"/>
                  </a:lnTo>
                  <a:lnTo>
                    <a:pt x="63" y="45"/>
                  </a:lnTo>
                  <a:lnTo>
                    <a:pt x="60" y="60"/>
                  </a:lnTo>
                  <a:lnTo>
                    <a:pt x="53" y="65"/>
                  </a:lnTo>
                  <a:lnTo>
                    <a:pt x="49" y="75"/>
                  </a:lnTo>
                  <a:lnTo>
                    <a:pt x="41" y="92"/>
                  </a:lnTo>
                  <a:lnTo>
                    <a:pt x="36" y="92"/>
                  </a:lnTo>
                  <a:lnTo>
                    <a:pt x="29" y="86"/>
                  </a:lnTo>
                  <a:lnTo>
                    <a:pt x="15" y="87"/>
                  </a:lnTo>
                  <a:lnTo>
                    <a:pt x="14" y="91"/>
                  </a:lnTo>
                  <a:lnTo>
                    <a:pt x="8" y="94"/>
                  </a:lnTo>
                  <a:lnTo>
                    <a:pt x="5" y="101"/>
                  </a:lnTo>
                  <a:lnTo>
                    <a:pt x="3" y="109"/>
                  </a:lnTo>
                  <a:lnTo>
                    <a:pt x="0" y="116"/>
                  </a:lnTo>
                  <a:lnTo>
                    <a:pt x="2" y="120"/>
                  </a:lnTo>
                  <a:lnTo>
                    <a:pt x="5" y="120"/>
                  </a:lnTo>
                  <a:lnTo>
                    <a:pt x="7" y="125"/>
                  </a:lnTo>
                  <a:lnTo>
                    <a:pt x="12" y="128"/>
                  </a:lnTo>
                  <a:lnTo>
                    <a:pt x="17" y="126"/>
                  </a:lnTo>
                  <a:lnTo>
                    <a:pt x="15" y="132"/>
                  </a:lnTo>
                  <a:lnTo>
                    <a:pt x="17" y="133"/>
                  </a:lnTo>
                  <a:lnTo>
                    <a:pt x="20" y="137"/>
                  </a:lnTo>
                  <a:lnTo>
                    <a:pt x="17" y="152"/>
                  </a:lnTo>
                  <a:lnTo>
                    <a:pt x="39" y="15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" name="Freeform 137">
              <a:extLst>
                <a:ext uri="{FF2B5EF4-FFF2-40B4-BE49-F238E27FC236}">
                  <a16:creationId xmlns:a16="http://schemas.microsoft.com/office/drawing/2014/main" id="{394B7639-587D-4D4B-BDC5-058A9FAC2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3184" y="2667682"/>
              <a:ext cx="14792" cy="12191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17" y="1"/>
                </a:cxn>
                <a:cxn ang="0">
                  <a:pos x="15" y="5"/>
                </a:cxn>
                <a:cxn ang="0">
                  <a:pos x="10" y="3"/>
                </a:cxn>
                <a:cxn ang="0">
                  <a:pos x="5" y="12"/>
                </a:cxn>
                <a:cxn ang="0">
                  <a:pos x="0" y="18"/>
                </a:cxn>
                <a:cxn ang="0">
                  <a:pos x="2" y="22"/>
                </a:cxn>
                <a:cxn ang="0">
                  <a:pos x="3" y="20"/>
                </a:cxn>
                <a:cxn ang="0">
                  <a:pos x="5" y="20"/>
                </a:cxn>
                <a:cxn ang="0">
                  <a:pos x="9" y="24"/>
                </a:cxn>
                <a:cxn ang="0">
                  <a:pos x="12" y="22"/>
                </a:cxn>
                <a:cxn ang="0">
                  <a:pos x="14" y="18"/>
                </a:cxn>
                <a:cxn ang="0">
                  <a:pos x="21" y="17"/>
                </a:cxn>
                <a:cxn ang="0">
                  <a:pos x="24" y="18"/>
                </a:cxn>
                <a:cxn ang="0">
                  <a:pos x="27" y="12"/>
                </a:cxn>
                <a:cxn ang="0">
                  <a:pos x="21" y="0"/>
                </a:cxn>
              </a:cxnLst>
              <a:rect l="0" t="0" r="r" b="b"/>
              <a:pathLst>
                <a:path w="28" h="25">
                  <a:moveTo>
                    <a:pt x="21" y="0"/>
                  </a:moveTo>
                  <a:lnTo>
                    <a:pt x="17" y="1"/>
                  </a:lnTo>
                  <a:lnTo>
                    <a:pt x="15" y="5"/>
                  </a:lnTo>
                  <a:lnTo>
                    <a:pt x="10" y="3"/>
                  </a:lnTo>
                  <a:lnTo>
                    <a:pt x="5" y="12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20"/>
                  </a:lnTo>
                  <a:lnTo>
                    <a:pt x="9" y="24"/>
                  </a:lnTo>
                  <a:lnTo>
                    <a:pt x="12" y="22"/>
                  </a:lnTo>
                  <a:lnTo>
                    <a:pt x="14" y="18"/>
                  </a:lnTo>
                  <a:lnTo>
                    <a:pt x="21" y="17"/>
                  </a:lnTo>
                  <a:lnTo>
                    <a:pt x="24" y="18"/>
                  </a:lnTo>
                  <a:lnTo>
                    <a:pt x="27" y="12"/>
                  </a:lnTo>
                  <a:lnTo>
                    <a:pt x="21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" name="Freeform 138">
              <a:extLst>
                <a:ext uri="{FF2B5EF4-FFF2-40B4-BE49-F238E27FC236}">
                  <a16:creationId xmlns:a16="http://schemas.microsoft.com/office/drawing/2014/main" id="{9D8A0600-FBEA-0142-B6E2-030DA1615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7528" y="2586734"/>
              <a:ext cx="95618" cy="55591"/>
            </a:xfrm>
            <a:custGeom>
              <a:avLst/>
              <a:gdLst/>
              <a:ahLst/>
              <a:cxnLst>
                <a:cxn ang="0">
                  <a:pos x="173" y="80"/>
                </a:cxn>
                <a:cxn ang="0">
                  <a:pos x="168" y="82"/>
                </a:cxn>
                <a:cxn ang="0">
                  <a:pos x="163" y="80"/>
                </a:cxn>
                <a:cxn ang="0">
                  <a:pos x="149" y="80"/>
                </a:cxn>
                <a:cxn ang="0">
                  <a:pos x="142" y="86"/>
                </a:cxn>
                <a:cxn ang="0">
                  <a:pos x="123" y="87"/>
                </a:cxn>
                <a:cxn ang="0">
                  <a:pos x="113" y="87"/>
                </a:cxn>
                <a:cxn ang="0">
                  <a:pos x="110" y="92"/>
                </a:cxn>
                <a:cxn ang="0">
                  <a:pos x="87" y="89"/>
                </a:cxn>
                <a:cxn ang="0">
                  <a:pos x="84" y="91"/>
                </a:cxn>
                <a:cxn ang="0">
                  <a:pos x="69" y="80"/>
                </a:cxn>
                <a:cxn ang="0">
                  <a:pos x="60" y="101"/>
                </a:cxn>
                <a:cxn ang="0">
                  <a:pos x="48" y="106"/>
                </a:cxn>
                <a:cxn ang="0">
                  <a:pos x="35" y="103"/>
                </a:cxn>
                <a:cxn ang="0">
                  <a:pos x="23" y="113"/>
                </a:cxn>
                <a:cxn ang="0">
                  <a:pos x="11" y="106"/>
                </a:cxn>
                <a:cxn ang="0">
                  <a:pos x="0" y="70"/>
                </a:cxn>
                <a:cxn ang="0">
                  <a:pos x="12" y="50"/>
                </a:cxn>
                <a:cxn ang="0">
                  <a:pos x="26" y="46"/>
                </a:cxn>
                <a:cxn ang="0">
                  <a:pos x="33" y="48"/>
                </a:cxn>
                <a:cxn ang="0">
                  <a:pos x="57" y="41"/>
                </a:cxn>
                <a:cxn ang="0">
                  <a:pos x="62" y="31"/>
                </a:cxn>
                <a:cxn ang="0">
                  <a:pos x="82" y="26"/>
                </a:cxn>
                <a:cxn ang="0">
                  <a:pos x="89" y="22"/>
                </a:cxn>
                <a:cxn ang="0">
                  <a:pos x="99" y="10"/>
                </a:cxn>
                <a:cxn ang="0">
                  <a:pos x="103" y="2"/>
                </a:cxn>
                <a:cxn ang="0">
                  <a:pos x="125" y="14"/>
                </a:cxn>
                <a:cxn ang="0">
                  <a:pos x="125" y="29"/>
                </a:cxn>
                <a:cxn ang="0">
                  <a:pos x="134" y="33"/>
                </a:cxn>
                <a:cxn ang="0">
                  <a:pos x="142" y="38"/>
                </a:cxn>
                <a:cxn ang="0">
                  <a:pos x="149" y="48"/>
                </a:cxn>
                <a:cxn ang="0">
                  <a:pos x="168" y="68"/>
                </a:cxn>
                <a:cxn ang="0">
                  <a:pos x="180" y="80"/>
                </a:cxn>
              </a:cxnLst>
              <a:rect l="0" t="0" r="r" b="b"/>
              <a:pathLst>
                <a:path w="181" h="114">
                  <a:moveTo>
                    <a:pt x="180" y="80"/>
                  </a:moveTo>
                  <a:lnTo>
                    <a:pt x="173" y="80"/>
                  </a:lnTo>
                  <a:lnTo>
                    <a:pt x="171" y="84"/>
                  </a:lnTo>
                  <a:lnTo>
                    <a:pt x="168" y="82"/>
                  </a:lnTo>
                  <a:lnTo>
                    <a:pt x="166" y="84"/>
                  </a:lnTo>
                  <a:lnTo>
                    <a:pt x="163" y="80"/>
                  </a:lnTo>
                  <a:lnTo>
                    <a:pt x="154" y="82"/>
                  </a:lnTo>
                  <a:lnTo>
                    <a:pt x="149" y="80"/>
                  </a:lnTo>
                  <a:lnTo>
                    <a:pt x="147" y="84"/>
                  </a:lnTo>
                  <a:lnTo>
                    <a:pt x="142" y="86"/>
                  </a:lnTo>
                  <a:lnTo>
                    <a:pt x="139" y="82"/>
                  </a:lnTo>
                  <a:lnTo>
                    <a:pt x="123" y="87"/>
                  </a:lnTo>
                  <a:lnTo>
                    <a:pt x="116" y="86"/>
                  </a:lnTo>
                  <a:lnTo>
                    <a:pt x="113" y="87"/>
                  </a:lnTo>
                  <a:lnTo>
                    <a:pt x="111" y="92"/>
                  </a:lnTo>
                  <a:lnTo>
                    <a:pt x="110" y="92"/>
                  </a:lnTo>
                  <a:lnTo>
                    <a:pt x="98" y="92"/>
                  </a:lnTo>
                  <a:lnTo>
                    <a:pt x="87" y="89"/>
                  </a:lnTo>
                  <a:lnTo>
                    <a:pt x="86" y="91"/>
                  </a:lnTo>
                  <a:lnTo>
                    <a:pt x="84" y="91"/>
                  </a:lnTo>
                  <a:lnTo>
                    <a:pt x="77" y="82"/>
                  </a:lnTo>
                  <a:lnTo>
                    <a:pt x="69" y="80"/>
                  </a:lnTo>
                  <a:lnTo>
                    <a:pt x="60" y="91"/>
                  </a:lnTo>
                  <a:lnTo>
                    <a:pt x="60" y="101"/>
                  </a:lnTo>
                  <a:lnTo>
                    <a:pt x="57" y="101"/>
                  </a:lnTo>
                  <a:lnTo>
                    <a:pt x="48" y="106"/>
                  </a:lnTo>
                  <a:lnTo>
                    <a:pt x="40" y="101"/>
                  </a:lnTo>
                  <a:lnTo>
                    <a:pt x="35" y="103"/>
                  </a:lnTo>
                  <a:lnTo>
                    <a:pt x="28" y="106"/>
                  </a:lnTo>
                  <a:lnTo>
                    <a:pt x="23" y="113"/>
                  </a:lnTo>
                  <a:lnTo>
                    <a:pt x="21" y="113"/>
                  </a:lnTo>
                  <a:lnTo>
                    <a:pt x="11" y="106"/>
                  </a:lnTo>
                  <a:lnTo>
                    <a:pt x="0" y="86"/>
                  </a:lnTo>
                  <a:lnTo>
                    <a:pt x="0" y="70"/>
                  </a:lnTo>
                  <a:lnTo>
                    <a:pt x="6" y="65"/>
                  </a:lnTo>
                  <a:lnTo>
                    <a:pt x="12" y="50"/>
                  </a:lnTo>
                  <a:lnTo>
                    <a:pt x="21" y="50"/>
                  </a:lnTo>
                  <a:lnTo>
                    <a:pt x="26" y="46"/>
                  </a:lnTo>
                  <a:lnTo>
                    <a:pt x="28" y="45"/>
                  </a:lnTo>
                  <a:lnTo>
                    <a:pt x="33" y="48"/>
                  </a:lnTo>
                  <a:lnTo>
                    <a:pt x="45" y="43"/>
                  </a:lnTo>
                  <a:lnTo>
                    <a:pt x="57" y="41"/>
                  </a:lnTo>
                  <a:lnTo>
                    <a:pt x="64" y="34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82" y="26"/>
                  </a:lnTo>
                  <a:lnTo>
                    <a:pt x="84" y="24"/>
                  </a:lnTo>
                  <a:lnTo>
                    <a:pt x="89" y="22"/>
                  </a:lnTo>
                  <a:lnTo>
                    <a:pt x="91" y="19"/>
                  </a:lnTo>
                  <a:lnTo>
                    <a:pt x="99" y="10"/>
                  </a:lnTo>
                  <a:lnTo>
                    <a:pt x="99" y="7"/>
                  </a:lnTo>
                  <a:lnTo>
                    <a:pt x="103" y="2"/>
                  </a:lnTo>
                  <a:lnTo>
                    <a:pt x="113" y="0"/>
                  </a:lnTo>
                  <a:lnTo>
                    <a:pt x="125" y="14"/>
                  </a:lnTo>
                  <a:lnTo>
                    <a:pt x="125" y="17"/>
                  </a:lnTo>
                  <a:lnTo>
                    <a:pt x="125" y="29"/>
                  </a:lnTo>
                  <a:lnTo>
                    <a:pt x="127" y="33"/>
                  </a:lnTo>
                  <a:lnTo>
                    <a:pt x="134" y="33"/>
                  </a:lnTo>
                  <a:lnTo>
                    <a:pt x="134" y="38"/>
                  </a:lnTo>
                  <a:lnTo>
                    <a:pt x="142" y="38"/>
                  </a:lnTo>
                  <a:lnTo>
                    <a:pt x="147" y="41"/>
                  </a:lnTo>
                  <a:lnTo>
                    <a:pt x="149" y="48"/>
                  </a:lnTo>
                  <a:lnTo>
                    <a:pt x="163" y="58"/>
                  </a:lnTo>
                  <a:lnTo>
                    <a:pt x="168" y="68"/>
                  </a:lnTo>
                  <a:lnTo>
                    <a:pt x="178" y="74"/>
                  </a:lnTo>
                  <a:lnTo>
                    <a:pt x="180" y="8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" name="Freeform 139">
              <a:extLst>
                <a:ext uri="{FF2B5EF4-FFF2-40B4-BE49-F238E27FC236}">
                  <a16:creationId xmlns:a16="http://schemas.microsoft.com/office/drawing/2014/main" id="{59AD5C98-2B1E-F549-B7B2-4A1F1D790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9039" y="2690113"/>
              <a:ext cx="8981" cy="10241"/>
            </a:xfrm>
            <a:custGeom>
              <a:avLst/>
              <a:gdLst/>
              <a:ahLst/>
              <a:cxnLst>
                <a:cxn ang="0">
                  <a:pos x="6" y="20"/>
                </a:cxn>
                <a:cxn ang="0">
                  <a:pos x="3" y="18"/>
                </a:cxn>
                <a:cxn ang="0">
                  <a:pos x="1" y="10"/>
                </a:cxn>
                <a:cxn ang="0">
                  <a:pos x="0" y="10"/>
                </a:cxn>
                <a:cxn ang="0">
                  <a:pos x="7" y="5"/>
                </a:cxn>
                <a:cxn ang="0">
                  <a:pos x="9" y="1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6" y="5"/>
                </a:cxn>
                <a:cxn ang="0">
                  <a:pos x="9" y="8"/>
                </a:cxn>
                <a:cxn ang="0">
                  <a:pos x="7" y="18"/>
                </a:cxn>
                <a:cxn ang="0">
                  <a:pos x="6" y="20"/>
                </a:cxn>
              </a:cxnLst>
              <a:rect l="0" t="0" r="r" b="b"/>
              <a:pathLst>
                <a:path w="17" h="21">
                  <a:moveTo>
                    <a:pt x="6" y="20"/>
                  </a:moveTo>
                  <a:lnTo>
                    <a:pt x="3" y="18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7" y="5"/>
                  </a:lnTo>
                  <a:lnTo>
                    <a:pt x="9" y="1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16" y="5"/>
                  </a:lnTo>
                  <a:lnTo>
                    <a:pt x="9" y="8"/>
                  </a:lnTo>
                  <a:lnTo>
                    <a:pt x="7" y="18"/>
                  </a:lnTo>
                  <a:lnTo>
                    <a:pt x="6" y="2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" name="Freeform 140">
              <a:extLst>
                <a:ext uri="{FF2B5EF4-FFF2-40B4-BE49-F238E27FC236}">
                  <a16:creationId xmlns:a16="http://schemas.microsoft.com/office/drawing/2014/main" id="{514ACA5F-EB89-E647-9FE6-01115B15D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5266" y="2645738"/>
              <a:ext cx="41206" cy="42425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34" y="4"/>
                </a:cxn>
                <a:cxn ang="0">
                  <a:pos x="36" y="16"/>
                </a:cxn>
                <a:cxn ang="0">
                  <a:pos x="17" y="16"/>
                </a:cxn>
                <a:cxn ang="0">
                  <a:pos x="12" y="17"/>
                </a:cxn>
                <a:cxn ang="0">
                  <a:pos x="12" y="21"/>
                </a:cxn>
                <a:cxn ang="0">
                  <a:pos x="9" y="24"/>
                </a:cxn>
                <a:cxn ang="0">
                  <a:pos x="16" y="29"/>
                </a:cxn>
                <a:cxn ang="0">
                  <a:pos x="12" y="29"/>
                </a:cxn>
                <a:cxn ang="0">
                  <a:pos x="9" y="28"/>
                </a:cxn>
                <a:cxn ang="0">
                  <a:pos x="7" y="38"/>
                </a:cxn>
                <a:cxn ang="0">
                  <a:pos x="4" y="41"/>
                </a:cxn>
                <a:cxn ang="0">
                  <a:pos x="0" y="41"/>
                </a:cxn>
                <a:cxn ang="0">
                  <a:pos x="2" y="45"/>
                </a:cxn>
                <a:cxn ang="0">
                  <a:pos x="7" y="57"/>
                </a:cxn>
                <a:cxn ang="0">
                  <a:pos x="17" y="69"/>
                </a:cxn>
                <a:cxn ang="0">
                  <a:pos x="31" y="82"/>
                </a:cxn>
                <a:cxn ang="0">
                  <a:pos x="33" y="86"/>
                </a:cxn>
                <a:cxn ang="0">
                  <a:pos x="34" y="80"/>
                </a:cxn>
                <a:cxn ang="0">
                  <a:pos x="41" y="79"/>
                </a:cxn>
                <a:cxn ang="0">
                  <a:pos x="41" y="77"/>
                </a:cxn>
                <a:cxn ang="0">
                  <a:pos x="40" y="70"/>
                </a:cxn>
                <a:cxn ang="0">
                  <a:pos x="41" y="65"/>
                </a:cxn>
                <a:cxn ang="0">
                  <a:pos x="50" y="62"/>
                </a:cxn>
                <a:cxn ang="0">
                  <a:pos x="55" y="57"/>
                </a:cxn>
                <a:cxn ang="0">
                  <a:pos x="58" y="60"/>
                </a:cxn>
                <a:cxn ang="0">
                  <a:pos x="65" y="60"/>
                </a:cxn>
                <a:cxn ang="0">
                  <a:pos x="70" y="63"/>
                </a:cxn>
                <a:cxn ang="0">
                  <a:pos x="74" y="63"/>
                </a:cxn>
                <a:cxn ang="0">
                  <a:pos x="77" y="41"/>
                </a:cxn>
                <a:cxn ang="0">
                  <a:pos x="72" y="31"/>
                </a:cxn>
                <a:cxn ang="0">
                  <a:pos x="74" y="28"/>
                </a:cxn>
                <a:cxn ang="0">
                  <a:pos x="77" y="21"/>
                </a:cxn>
                <a:cxn ang="0">
                  <a:pos x="77" y="14"/>
                </a:cxn>
                <a:cxn ang="0">
                  <a:pos x="75" y="12"/>
                </a:cxn>
                <a:cxn ang="0">
                  <a:pos x="67" y="9"/>
                </a:cxn>
                <a:cxn ang="0">
                  <a:pos x="63" y="16"/>
                </a:cxn>
                <a:cxn ang="0">
                  <a:pos x="62" y="14"/>
                </a:cxn>
                <a:cxn ang="0">
                  <a:pos x="62" y="5"/>
                </a:cxn>
                <a:cxn ang="0">
                  <a:pos x="63" y="2"/>
                </a:cxn>
                <a:cxn ang="0">
                  <a:pos x="48" y="0"/>
                </a:cxn>
                <a:cxn ang="0">
                  <a:pos x="36" y="0"/>
                </a:cxn>
              </a:cxnLst>
              <a:rect l="0" t="0" r="r" b="b"/>
              <a:pathLst>
                <a:path w="78" h="87">
                  <a:moveTo>
                    <a:pt x="36" y="0"/>
                  </a:moveTo>
                  <a:lnTo>
                    <a:pt x="34" y="4"/>
                  </a:lnTo>
                  <a:lnTo>
                    <a:pt x="36" y="16"/>
                  </a:lnTo>
                  <a:lnTo>
                    <a:pt x="17" y="16"/>
                  </a:lnTo>
                  <a:lnTo>
                    <a:pt x="12" y="17"/>
                  </a:lnTo>
                  <a:lnTo>
                    <a:pt x="12" y="21"/>
                  </a:lnTo>
                  <a:lnTo>
                    <a:pt x="9" y="24"/>
                  </a:lnTo>
                  <a:lnTo>
                    <a:pt x="16" y="29"/>
                  </a:lnTo>
                  <a:lnTo>
                    <a:pt x="12" y="29"/>
                  </a:lnTo>
                  <a:lnTo>
                    <a:pt x="9" y="28"/>
                  </a:lnTo>
                  <a:lnTo>
                    <a:pt x="7" y="38"/>
                  </a:lnTo>
                  <a:lnTo>
                    <a:pt x="4" y="41"/>
                  </a:lnTo>
                  <a:lnTo>
                    <a:pt x="0" y="41"/>
                  </a:lnTo>
                  <a:lnTo>
                    <a:pt x="2" y="45"/>
                  </a:lnTo>
                  <a:lnTo>
                    <a:pt x="7" y="57"/>
                  </a:lnTo>
                  <a:lnTo>
                    <a:pt x="17" y="69"/>
                  </a:lnTo>
                  <a:lnTo>
                    <a:pt x="31" y="82"/>
                  </a:lnTo>
                  <a:lnTo>
                    <a:pt x="33" y="86"/>
                  </a:lnTo>
                  <a:lnTo>
                    <a:pt x="34" y="80"/>
                  </a:lnTo>
                  <a:lnTo>
                    <a:pt x="41" y="79"/>
                  </a:lnTo>
                  <a:lnTo>
                    <a:pt x="41" y="77"/>
                  </a:lnTo>
                  <a:lnTo>
                    <a:pt x="40" y="70"/>
                  </a:lnTo>
                  <a:lnTo>
                    <a:pt x="41" y="65"/>
                  </a:lnTo>
                  <a:lnTo>
                    <a:pt x="50" y="62"/>
                  </a:lnTo>
                  <a:lnTo>
                    <a:pt x="55" y="57"/>
                  </a:lnTo>
                  <a:lnTo>
                    <a:pt x="58" y="60"/>
                  </a:lnTo>
                  <a:lnTo>
                    <a:pt x="65" y="60"/>
                  </a:lnTo>
                  <a:lnTo>
                    <a:pt x="70" y="63"/>
                  </a:lnTo>
                  <a:lnTo>
                    <a:pt x="74" y="63"/>
                  </a:lnTo>
                  <a:lnTo>
                    <a:pt x="77" y="41"/>
                  </a:lnTo>
                  <a:lnTo>
                    <a:pt x="72" y="31"/>
                  </a:lnTo>
                  <a:lnTo>
                    <a:pt x="74" y="28"/>
                  </a:lnTo>
                  <a:lnTo>
                    <a:pt x="77" y="21"/>
                  </a:lnTo>
                  <a:lnTo>
                    <a:pt x="77" y="14"/>
                  </a:lnTo>
                  <a:lnTo>
                    <a:pt x="75" y="12"/>
                  </a:lnTo>
                  <a:lnTo>
                    <a:pt x="67" y="9"/>
                  </a:lnTo>
                  <a:lnTo>
                    <a:pt x="63" y="16"/>
                  </a:lnTo>
                  <a:lnTo>
                    <a:pt x="62" y="14"/>
                  </a:lnTo>
                  <a:lnTo>
                    <a:pt x="62" y="5"/>
                  </a:lnTo>
                  <a:lnTo>
                    <a:pt x="63" y="2"/>
                  </a:lnTo>
                  <a:lnTo>
                    <a:pt x="48" y="0"/>
                  </a:lnTo>
                  <a:lnTo>
                    <a:pt x="36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" name="Freeform 141">
              <a:extLst>
                <a:ext uri="{FF2B5EF4-FFF2-40B4-BE49-F238E27FC236}">
                  <a16:creationId xmlns:a16="http://schemas.microsoft.com/office/drawing/2014/main" id="{D10200FC-150B-1F46-8EED-374FED558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699" y="2635985"/>
              <a:ext cx="55469" cy="59492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95" y="5"/>
                </a:cxn>
                <a:cxn ang="0">
                  <a:pos x="87" y="0"/>
                </a:cxn>
                <a:cxn ang="0">
                  <a:pos x="82" y="2"/>
                </a:cxn>
                <a:cxn ang="0">
                  <a:pos x="75" y="5"/>
                </a:cxn>
                <a:cxn ang="0">
                  <a:pos x="70" y="12"/>
                </a:cxn>
                <a:cxn ang="0">
                  <a:pos x="70" y="25"/>
                </a:cxn>
                <a:cxn ang="0">
                  <a:pos x="68" y="29"/>
                </a:cxn>
                <a:cxn ang="0">
                  <a:pos x="61" y="24"/>
                </a:cxn>
                <a:cxn ang="0">
                  <a:pos x="49" y="22"/>
                </a:cxn>
                <a:cxn ang="0">
                  <a:pos x="30" y="22"/>
                </a:cxn>
                <a:cxn ang="0">
                  <a:pos x="29" y="25"/>
                </a:cxn>
                <a:cxn ang="0">
                  <a:pos x="29" y="34"/>
                </a:cxn>
                <a:cxn ang="0">
                  <a:pos x="30" y="36"/>
                </a:cxn>
                <a:cxn ang="0">
                  <a:pos x="34" y="29"/>
                </a:cxn>
                <a:cxn ang="0">
                  <a:pos x="42" y="32"/>
                </a:cxn>
                <a:cxn ang="0">
                  <a:pos x="44" y="34"/>
                </a:cxn>
                <a:cxn ang="0">
                  <a:pos x="44" y="41"/>
                </a:cxn>
                <a:cxn ang="0">
                  <a:pos x="41" y="48"/>
                </a:cxn>
                <a:cxn ang="0">
                  <a:pos x="39" y="51"/>
                </a:cxn>
                <a:cxn ang="0">
                  <a:pos x="44" y="61"/>
                </a:cxn>
                <a:cxn ang="0">
                  <a:pos x="41" y="83"/>
                </a:cxn>
                <a:cxn ang="0">
                  <a:pos x="37" y="83"/>
                </a:cxn>
                <a:cxn ang="0">
                  <a:pos x="32" y="80"/>
                </a:cxn>
                <a:cxn ang="0">
                  <a:pos x="25" y="80"/>
                </a:cxn>
                <a:cxn ang="0">
                  <a:pos x="22" y="77"/>
                </a:cxn>
                <a:cxn ang="0">
                  <a:pos x="17" y="82"/>
                </a:cxn>
                <a:cxn ang="0">
                  <a:pos x="8" y="85"/>
                </a:cxn>
                <a:cxn ang="0">
                  <a:pos x="7" y="90"/>
                </a:cxn>
                <a:cxn ang="0">
                  <a:pos x="8" y="97"/>
                </a:cxn>
                <a:cxn ang="0">
                  <a:pos x="8" y="99"/>
                </a:cxn>
                <a:cxn ang="0">
                  <a:pos x="1" y="100"/>
                </a:cxn>
                <a:cxn ang="0">
                  <a:pos x="0" y="106"/>
                </a:cxn>
                <a:cxn ang="0">
                  <a:pos x="3" y="107"/>
                </a:cxn>
                <a:cxn ang="0">
                  <a:pos x="8" y="112"/>
                </a:cxn>
                <a:cxn ang="0">
                  <a:pos x="12" y="121"/>
                </a:cxn>
                <a:cxn ang="0">
                  <a:pos x="18" y="116"/>
                </a:cxn>
                <a:cxn ang="0">
                  <a:pos x="20" y="112"/>
                </a:cxn>
                <a:cxn ang="0">
                  <a:pos x="22" y="111"/>
                </a:cxn>
                <a:cxn ang="0">
                  <a:pos x="25" y="112"/>
                </a:cxn>
                <a:cxn ang="0">
                  <a:pos x="25" y="116"/>
                </a:cxn>
                <a:cxn ang="0">
                  <a:pos x="30" y="118"/>
                </a:cxn>
                <a:cxn ang="0">
                  <a:pos x="34" y="118"/>
                </a:cxn>
                <a:cxn ang="0">
                  <a:pos x="37" y="112"/>
                </a:cxn>
                <a:cxn ang="0">
                  <a:pos x="44" y="111"/>
                </a:cxn>
                <a:cxn ang="0">
                  <a:pos x="44" y="116"/>
                </a:cxn>
                <a:cxn ang="0">
                  <a:pos x="47" y="118"/>
                </a:cxn>
                <a:cxn ang="0">
                  <a:pos x="53" y="116"/>
                </a:cxn>
                <a:cxn ang="0">
                  <a:pos x="66" y="104"/>
                </a:cxn>
                <a:cxn ang="0">
                  <a:pos x="70" y="95"/>
                </a:cxn>
                <a:cxn ang="0">
                  <a:pos x="71" y="85"/>
                </a:cxn>
                <a:cxn ang="0">
                  <a:pos x="73" y="80"/>
                </a:cxn>
                <a:cxn ang="0">
                  <a:pos x="78" y="70"/>
                </a:cxn>
                <a:cxn ang="0">
                  <a:pos x="92" y="60"/>
                </a:cxn>
                <a:cxn ang="0">
                  <a:pos x="95" y="25"/>
                </a:cxn>
                <a:cxn ang="0">
                  <a:pos x="104" y="10"/>
                </a:cxn>
                <a:cxn ang="0">
                  <a:pos x="104" y="0"/>
                </a:cxn>
              </a:cxnLst>
              <a:rect l="0" t="0" r="r" b="b"/>
              <a:pathLst>
                <a:path w="105" h="122">
                  <a:moveTo>
                    <a:pt x="104" y="0"/>
                  </a:moveTo>
                  <a:lnTo>
                    <a:pt x="95" y="5"/>
                  </a:lnTo>
                  <a:lnTo>
                    <a:pt x="87" y="0"/>
                  </a:lnTo>
                  <a:lnTo>
                    <a:pt x="82" y="2"/>
                  </a:lnTo>
                  <a:lnTo>
                    <a:pt x="75" y="5"/>
                  </a:lnTo>
                  <a:lnTo>
                    <a:pt x="70" y="12"/>
                  </a:lnTo>
                  <a:lnTo>
                    <a:pt x="70" y="25"/>
                  </a:lnTo>
                  <a:lnTo>
                    <a:pt x="68" y="29"/>
                  </a:lnTo>
                  <a:lnTo>
                    <a:pt x="61" y="24"/>
                  </a:lnTo>
                  <a:lnTo>
                    <a:pt x="49" y="22"/>
                  </a:lnTo>
                  <a:lnTo>
                    <a:pt x="30" y="22"/>
                  </a:lnTo>
                  <a:lnTo>
                    <a:pt x="29" y="25"/>
                  </a:lnTo>
                  <a:lnTo>
                    <a:pt x="29" y="34"/>
                  </a:lnTo>
                  <a:lnTo>
                    <a:pt x="30" y="36"/>
                  </a:lnTo>
                  <a:lnTo>
                    <a:pt x="34" y="29"/>
                  </a:lnTo>
                  <a:lnTo>
                    <a:pt x="42" y="32"/>
                  </a:lnTo>
                  <a:lnTo>
                    <a:pt x="44" y="34"/>
                  </a:lnTo>
                  <a:lnTo>
                    <a:pt x="44" y="41"/>
                  </a:lnTo>
                  <a:lnTo>
                    <a:pt x="41" y="48"/>
                  </a:lnTo>
                  <a:lnTo>
                    <a:pt x="39" y="51"/>
                  </a:lnTo>
                  <a:lnTo>
                    <a:pt x="44" y="61"/>
                  </a:lnTo>
                  <a:lnTo>
                    <a:pt x="41" y="83"/>
                  </a:lnTo>
                  <a:lnTo>
                    <a:pt x="37" y="83"/>
                  </a:lnTo>
                  <a:lnTo>
                    <a:pt x="32" y="80"/>
                  </a:lnTo>
                  <a:lnTo>
                    <a:pt x="25" y="80"/>
                  </a:lnTo>
                  <a:lnTo>
                    <a:pt x="22" y="77"/>
                  </a:lnTo>
                  <a:lnTo>
                    <a:pt x="17" y="82"/>
                  </a:lnTo>
                  <a:lnTo>
                    <a:pt x="8" y="85"/>
                  </a:lnTo>
                  <a:lnTo>
                    <a:pt x="7" y="90"/>
                  </a:lnTo>
                  <a:lnTo>
                    <a:pt x="8" y="97"/>
                  </a:lnTo>
                  <a:lnTo>
                    <a:pt x="8" y="99"/>
                  </a:lnTo>
                  <a:lnTo>
                    <a:pt x="1" y="100"/>
                  </a:lnTo>
                  <a:lnTo>
                    <a:pt x="0" y="106"/>
                  </a:lnTo>
                  <a:lnTo>
                    <a:pt x="3" y="107"/>
                  </a:lnTo>
                  <a:lnTo>
                    <a:pt x="8" y="112"/>
                  </a:lnTo>
                  <a:lnTo>
                    <a:pt x="12" y="121"/>
                  </a:lnTo>
                  <a:lnTo>
                    <a:pt x="18" y="116"/>
                  </a:lnTo>
                  <a:lnTo>
                    <a:pt x="20" y="112"/>
                  </a:lnTo>
                  <a:lnTo>
                    <a:pt x="22" y="111"/>
                  </a:lnTo>
                  <a:lnTo>
                    <a:pt x="25" y="112"/>
                  </a:lnTo>
                  <a:lnTo>
                    <a:pt x="25" y="116"/>
                  </a:lnTo>
                  <a:lnTo>
                    <a:pt x="30" y="118"/>
                  </a:lnTo>
                  <a:lnTo>
                    <a:pt x="34" y="118"/>
                  </a:lnTo>
                  <a:lnTo>
                    <a:pt x="37" y="112"/>
                  </a:lnTo>
                  <a:lnTo>
                    <a:pt x="44" y="111"/>
                  </a:lnTo>
                  <a:lnTo>
                    <a:pt x="44" y="116"/>
                  </a:lnTo>
                  <a:lnTo>
                    <a:pt x="47" y="118"/>
                  </a:lnTo>
                  <a:lnTo>
                    <a:pt x="53" y="116"/>
                  </a:lnTo>
                  <a:lnTo>
                    <a:pt x="66" y="104"/>
                  </a:lnTo>
                  <a:lnTo>
                    <a:pt x="70" y="95"/>
                  </a:lnTo>
                  <a:lnTo>
                    <a:pt x="71" y="85"/>
                  </a:lnTo>
                  <a:lnTo>
                    <a:pt x="73" y="80"/>
                  </a:lnTo>
                  <a:lnTo>
                    <a:pt x="78" y="70"/>
                  </a:lnTo>
                  <a:lnTo>
                    <a:pt x="92" y="60"/>
                  </a:lnTo>
                  <a:lnTo>
                    <a:pt x="95" y="25"/>
                  </a:lnTo>
                  <a:lnTo>
                    <a:pt x="104" y="10"/>
                  </a:lnTo>
                  <a:lnTo>
                    <a:pt x="104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" name="Freeform 142">
              <a:extLst>
                <a:ext uri="{FF2B5EF4-FFF2-40B4-BE49-F238E27FC236}">
                  <a16:creationId xmlns:a16="http://schemas.microsoft.com/office/drawing/2014/main" id="{A85E119E-9A18-4F4C-AFD8-4133D8E24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240" y="2675972"/>
              <a:ext cx="13207" cy="14629"/>
            </a:xfrm>
            <a:custGeom>
              <a:avLst/>
              <a:gdLst/>
              <a:ahLst/>
              <a:cxnLst>
                <a:cxn ang="0">
                  <a:pos x="5" y="29"/>
                </a:cxn>
                <a:cxn ang="0">
                  <a:pos x="3" y="22"/>
                </a:cxn>
                <a:cxn ang="0">
                  <a:pos x="3" y="15"/>
                </a:cxn>
                <a:cxn ang="0">
                  <a:pos x="3" y="8"/>
                </a:cxn>
                <a:cxn ang="0">
                  <a:pos x="0" y="5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7" y="7"/>
                </a:cxn>
                <a:cxn ang="0">
                  <a:pos x="10" y="5"/>
                </a:cxn>
                <a:cxn ang="0">
                  <a:pos x="12" y="1"/>
                </a:cxn>
                <a:cxn ang="0">
                  <a:pos x="19" y="0"/>
                </a:cxn>
                <a:cxn ang="0">
                  <a:pos x="22" y="1"/>
                </a:cxn>
                <a:cxn ang="0">
                  <a:pos x="19" y="7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15" y="27"/>
                </a:cxn>
                <a:cxn ang="0">
                  <a:pos x="7" y="29"/>
                </a:cxn>
                <a:cxn ang="0">
                  <a:pos x="5" y="29"/>
                </a:cxn>
              </a:cxnLst>
              <a:rect l="0" t="0" r="r" b="b"/>
              <a:pathLst>
                <a:path w="25" h="30">
                  <a:moveTo>
                    <a:pt x="5" y="29"/>
                  </a:moveTo>
                  <a:lnTo>
                    <a:pt x="3" y="22"/>
                  </a:lnTo>
                  <a:lnTo>
                    <a:pt x="3" y="15"/>
                  </a:lnTo>
                  <a:lnTo>
                    <a:pt x="3" y="8"/>
                  </a:lnTo>
                  <a:lnTo>
                    <a:pt x="0" y="5"/>
                  </a:lnTo>
                  <a:lnTo>
                    <a:pt x="1" y="3"/>
                  </a:lnTo>
                  <a:lnTo>
                    <a:pt x="3" y="3"/>
                  </a:lnTo>
                  <a:lnTo>
                    <a:pt x="7" y="7"/>
                  </a:lnTo>
                  <a:lnTo>
                    <a:pt x="10" y="5"/>
                  </a:lnTo>
                  <a:lnTo>
                    <a:pt x="12" y="1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19" y="7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15" y="27"/>
                  </a:lnTo>
                  <a:lnTo>
                    <a:pt x="7" y="29"/>
                  </a:lnTo>
                  <a:lnTo>
                    <a:pt x="5" y="29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" name="Freeform 143">
              <a:extLst>
                <a:ext uri="{FF2B5EF4-FFF2-40B4-BE49-F238E27FC236}">
                  <a16:creationId xmlns:a16="http://schemas.microsoft.com/office/drawing/2014/main" id="{62936F4A-96CE-6545-B158-881900F81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9039" y="2690113"/>
              <a:ext cx="8981" cy="10241"/>
            </a:xfrm>
            <a:custGeom>
              <a:avLst/>
              <a:gdLst/>
              <a:ahLst/>
              <a:cxnLst>
                <a:cxn ang="0">
                  <a:pos x="6" y="20"/>
                </a:cxn>
                <a:cxn ang="0">
                  <a:pos x="3" y="18"/>
                </a:cxn>
                <a:cxn ang="0">
                  <a:pos x="1" y="10"/>
                </a:cxn>
                <a:cxn ang="0">
                  <a:pos x="0" y="10"/>
                </a:cxn>
                <a:cxn ang="0">
                  <a:pos x="7" y="5"/>
                </a:cxn>
                <a:cxn ang="0">
                  <a:pos x="9" y="1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6" y="5"/>
                </a:cxn>
                <a:cxn ang="0">
                  <a:pos x="9" y="8"/>
                </a:cxn>
                <a:cxn ang="0">
                  <a:pos x="7" y="18"/>
                </a:cxn>
                <a:cxn ang="0">
                  <a:pos x="6" y="20"/>
                </a:cxn>
              </a:cxnLst>
              <a:rect l="0" t="0" r="r" b="b"/>
              <a:pathLst>
                <a:path w="17" h="21">
                  <a:moveTo>
                    <a:pt x="6" y="20"/>
                  </a:moveTo>
                  <a:lnTo>
                    <a:pt x="3" y="18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7" y="5"/>
                  </a:lnTo>
                  <a:lnTo>
                    <a:pt x="9" y="1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16" y="5"/>
                  </a:lnTo>
                  <a:lnTo>
                    <a:pt x="9" y="8"/>
                  </a:lnTo>
                  <a:lnTo>
                    <a:pt x="7" y="18"/>
                  </a:lnTo>
                  <a:lnTo>
                    <a:pt x="6" y="2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Freeform 144">
              <a:extLst>
                <a:ext uri="{FF2B5EF4-FFF2-40B4-BE49-F238E27FC236}">
                  <a16:creationId xmlns:a16="http://schemas.microsoft.com/office/drawing/2014/main" id="{727F96CA-563E-E74F-A015-6A2E0E6E5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0021" y="2645738"/>
              <a:ext cx="14792" cy="8778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5" y="2"/>
                </a:cxn>
                <a:cxn ang="0">
                  <a:pos x="3" y="11"/>
                </a:cxn>
                <a:cxn ang="0">
                  <a:pos x="0" y="14"/>
                </a:cxn>
                <a:cxn ang="0">
                  <a:pos x="3" y="17"/>
                </a:cxn>
                <a:cxn ang="0">
                  <a:pos x="8" y="16"/>
                </a:cxn>
                <a:cxn ang="0">
                  <a:pos x="27" y="16"/>
                </a:cxn>
                <a:cxn ang="0">
                  <a:pos x="25" y="4"/>
                </a:cxn>
                <a:cxn ang="0">
                  <a:pos x="27" y="0"/>
                </a:cxn>
              </a:cxnLst>
              <a:rect l="0" t="0" r="r" b="b"/>
              <a:pathLst>
                <a:path w="28" h="18">
                  <a:moveTo>
                    <a:pt x="27" y="0"/>
                  </a:moveTo>
                  <a:lnTo>
                    <a:pt x="5" y="2"/>
                  </a:lnTo>
                  <a:lnTo>
                    <a:pt x="3" y="11"/>
                  </a:lnTo>
                  <a:lnTo>
                    <a:pt x="0" y="14"/>
                  </a:lnTo>
                  <a:lnTo>
                    <a:pt x="3" y="17"/>
                  </a:lnTo>
                  <a:lnTo>
                    <a:pt x="8" y="16"/>
                  </a:lnTo>
                  <a:lnTo>
                    <a:pt x="27" y="16"/>
                  </a:lnTo>
                  <a:lnTo>
                    <a:pt x="25" y="4"/>
                  </a:lnTo>
                  <a:lnTo>
                    <a:pt x="27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Freeform 145">
              <a:extLst>
                <a:ext uri="{FF2B5EF4-FFF2-40B4-BE49-F238E27FC236}">
                  <a16:creationId xmlns:a16="http://schemas.microsoft.com/office/drawing/2014/main" id="{D12B4682-176F-DE48-9E43-277B02B56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8920" y="2859812"/>
              <a:ext cx="17433" cy="16092"/>
            </a:xfrm>
            <a:custGeom>
              <a:avLst/>
              <a:gdLst/>
              <a:ahLst/>
              <a:cxnLst>
                <a:cxn ang="0">
                  <a:pos x="32" y="11"/>
                </a:cxn>
                <a:cxn ang="0">
                  <a:pos x="32" y="13"/>
                </a:cxn>
                <a:cxn ang="0">
                  <a:pos x="27" y="23"/>
                </a:cxn>
                <a:cxn ang="0">
                  <a:pos x="19" y="27"/>
                </a:cxn>
                <a:cxn ang="0">
                  <a:pos x="15" y="32"/>
                </a:cxn>
                <a:cxn ang="0">
                  <a:pos x="12" y="32"/>
                </a:cxn>
                <a:cxn ang="0">
                  <a:pos x="7" y="27"/>
                </a:cxn>
                <a:cxn ang="0">
                  <a:pos x="0" y="17"/>
                </a:cxn>
                <a:cxn ang="0">
                  <a:pos x="8" y="6"/>
                </a:cxn>
                <a:cxn ang="0">
                  <a:pos x="19" y="0"/>
                </a:cxn>
                <a:cxn ang="0">
                  <a:pos x="22" y="0"/>
                </a:cxn>
                <a:cxn ang="0">
                  <a:pos x="25" y="1"/>
                </a:cxn>
                <a:cxn ang="0">
                  <a:pos x="32" y="11"/>
                </a:cxn>
              </a:cxnLst>
              <a:rect l="0" t="0" r="r" b="b"/>
              <a:pathLst>
                <a:path w="33" h="33">
                  <a:moveTo>
                    <a:pt x="32" y="11"/>
                  </a:moveTo>
                  <a:lnTo>
                    <a:pt x="32" y="13"/>
                  </a:lnTo>
                  <a:lnTo>
                    <a:pt x="27" y="23"/>
                  </a:lnTo>
                  <a:lnTo>
                    <a:pt x="19" y="27"/>
                  </a:lnTo>
                  <a:lnTo>
                    <a:pt x="15" y="32"/>
                  </a:lnTo>
                  <a:lnTo>
                    <a:pt x="12" y="32"/>
                  </a:lnTo>
                  <a:lnTo>
                    <a:pt x="7" y="27"/>
                  </a:lnTo>
                  <a:lnTo>
                    <a:pt x="0" y="17"/>
                  </a:lnTo>
                  <a:lnTo>
                    <a:pt x="8" y="6"/>
                  </a:lnTo>
                  <a:lnTo>
                    <a:pt x="19" y="0"/>
                  </a:lnTo>
                  <a:lnTo>
                    <a:pt x="22" y="0"/>
                  </a:lnTo>
                  <a:lnTo>
                    <a:pt x="25" y="1"/>
                  </a:lnTo>
                  <a:lnTo>
                    <a:pt x="32" y="11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146">
              <a:extLst>
                <a:ext uri="{FF2B5EF4-FFF2-40B4-BE49-F238E27FC236}">
                  <a16:creationId xmlns:a16="http://schemas.microsoft.com/office/drawing/2014/main" id="{4B479C48-82E1-E64D-B8EF-CC171CF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6919" y="2837869"/>
              <a:ext cx="8981" cy="12191"/>
            </a:xfrm>
            <a:custGeom>
              <a:avLst/>
              <a:gdLst/>
              <a:ahLst/>
              <a:cxnLst>
                <a:cxn ang="0">
                  <a:pos x="16" y="17"/>
                </a:cxn>
                <a:cxn ang="0">
                  <a:pos x="16" y="2"/>
                </a:cxn>
                <a:cxn ang="0">
                  <a:pos x="13" y="5"/>
                </a:cxn>
                <a:cxn ang="0">
                  <a:pos x="6" y="0"/>
                </a:cxn>
                <a:cxn ang="0">
                  <a:pos x="3" y="4"/>
                </a:cxn>
                <a:cxn ang="0">
                  <a:pos x="0" y="14"/>
                </a:cxn>
                <a:cxn ang="0">
                  <a:pos x="1" y="22"/>
                </a:cxn>
                <a:cxn ang="0">
                  <a:pos x="8" y="22"/>
                </a:cxn>
                <a:cxn ang="0">
                  <a:pos x="12" y="24"/>
                </a:cxn>
                <a:cxn ang="0">
                  <a:pos x="16" y="17"/>
                </a:cxn>
              </a:cxnLst>
              <a:rect l="0" t="0" r="r" b="b"/>
              <a:pathLst>
                <a:path w="17" h="25">
                  <a:moveTo>
                    <a:pt x="16" y="17"/>
                  </a:moveTo>
                  <a:lnTo>
                    <a:pt x="16" y="2"/>
                  </a:lnTo>
                  <a:lnTo>
                    <a:pt x="13" y="5"/>
                  </a:lnTo>
                  <a:lnTo>
                    <a:pt x="6" y="0"/>
                  </a:lnTo>
                  <a:lnTo>
                    <a:pt x="3" y="4"/>
                  </a:lnTo>
                  <a:lnTo>
                    <a:pt x="0" y="14"/>
                  </a:lnTo>
                  <a:lnTo>
                    <a:pt x="1" y="22"/>
                  </a:lnTo>
                  <a:lnTo>
                    <a:pt x="8" y="22"/>
                  </a:lnTo>
                  <a:lnTo>
                    <a:pt x="12" y="24"/>
                  </a:lnTo>
                  <a:lnTo>
                    <a:pt x="16" y="17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147">
              <a:extLst>
                <a:ext uri="{FF2B5EF4-FFF2-40B4-BE49-F238E27FC236}">
                  <a16:creationId xmlns:a16="http://schemas.microsoft.com/office/drawing/2014/main" id="{F78BA945-8864-8541-B294-2FC7C0145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064" y="2588684"/>
              <a:ext cx="44904" cy="43400"/>
            </a:xfrm>
            <a:custGeom>
              <a:avLst/>
              <a:gdLst/>
              <a:ahLst/>
              <a:cxnLst>
                <a:cxn ang="0">
                  <a:pos x="5" y="12"/>
                </a:cxn>
                <a:cxn ang="0">
                  <a:pos x="9" y="18"/>
                </a:cxn>
                <a:cxn ang="0">
                  <a:pos x="10" y="24"/>
                </a:cxn>
                <a:cxn ang="0">
                  <a:pos x="10" y="29"/>
                </a:cxn>
                <a:cxn ang="0">
                  <a:pos x="9" y="32"/>
                </a:cxn>
                <a:cxn ang="0">
                  <a:pos x="4" y="35"/>
                </a:cxn>
                <a:cxn ang="0">
                  <a:pos x="7" y="37"/>
                </a:cxn>
                <a:cxn ang="0">
                  <a:pos x="0" y="44"/>
                </a:cxn>
                <a:cxn ang="0">
                  <a:pos x="4" y="51"/>
                </a:cxn>
                <a:cxn ang="0">
                  <a:pos x="0" y="59"/>
                </a:cxn>
                <a:cxn ang="0">
                  <a:pos x="10" y="66"/>
                </a:cxn>
                <a:cxn ang="0">
                  <a:pos x="15" y="75"/>
                </a:cxn>
                <a:cxn ang="0">
                  <a:pos x="14" y="88"/>
                </a:cxn>
                <a:cxn ang="0">
                  <a:pos x="34" y="82"/>
                </a:cxn>
                <a:cxn ang="0">
                  <a:pos x="65" y="76"/>
                </a:cxn>
                <a:cxn ang="0">
                  <a:pos x="77" y="78"/>
                </a:cxn>
                <a:cxn ang="0">
                  <a:pos x="80" y="71"/>
                </a:cxn>
                <a:cxn ang="0">
                  <a:pos x="73" y="58"/>
                </a:cxn>
                <a:cxn ang="0">
                  <a:pos x="77" y="49"/>
                </a:cxn>
                <a:cxn ang="0">
                  <a:pos x="84" y="35"/>
                </a:cxn>
                <a:cxn ang="0">
                  <a:pos x="80" y="24"/>
                </a:cxn>
                <a:cxn ang="0">
                  <a:pos x="82" y="17"/>
                </a:cxn>
                <a:cxn ang="0">
                  <a:pos x="73" y="10"/>
                </a:cxn>
                <a:cxn ang="0">
                  <a:pos x="68" y="10"/>
                </a:cxn>
                <a:cxn ang="0">
                  <a:pos x="58" y="15"/>
                </a:cxn>
                <a:cxn ang="0">
                  <a:pos x="53" y="15"/>
                </a:cxn>
                <a:cxn ang="0">
                  <a:pos x="46" y="6"/>
                </a:cxn>
                <a:cxn ang="0">
                  <a:pos x="41" y="5"/>
                </a:cxn>
                <a:cxn ang="0">
                  <a:pos x="34" y="6"/>
                </a:cxn>
                <a:cxn ang="0">
                  <a:pos x="31" y="0"/>
                </a:cxn>
                <a:cxn ang="0">
                  <a:pos x="29" y="3"/>
                </a:cxn>
                <a:cxn ang="0">
                  <a:pos x="26" y="5"/>
                </a:cxn>
                <a:cxn ang="0">
                  <a:pos x="21" y="8"/>
                </a:cxn>
                <a:cxn ang="0">
                  <a:pos x="15" y="6"/>
                </a:cxn>
                <a:cxn ang="0">
                  <a:pos x="7" y="8"/>
                </a:cxn>
              </a:cxnLst>
              <a:rect l="0" t="0" r="r" b="b"/>
              <a:pathLst>
                <a:path w="85" h="89">
                  <a:moveTo>
                    <a:pt x="7" y="8"/>
                  </a:moveTo>
                  <a:lnTo>
                    <a:pt x="5" y="12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22"/>
                  </a:lnTo>
                  <a:lnTo>
                    <a:pt x="10" y="24"/>
                  </a:lnTo>
                  <a:lnTo>
                    <a:pt x="9" y="27"/>
                  </a:lnTo>
                  <a:lnTo>
                    <a:pt x="10" y="29"/>
                  </a:lnTo>
                  <a:lnTo>
                    <a:pt x="12" y="34"/>
                  </a:lnTo>
                  <a:lnTo>
                    <a:pt x="9" y="32"/>
                  </a:lnTo>
                  <a:lnTo>
                    <a:pt x="4" y="32"/>
                  </a:lnTo>
                  <a:lnTo>
                    <a:pt x="4" y="35"/>
                  </a:lnTo>
                  <a:lnTo>
                    <a:pt x="7" y="35"/>
                  </a:lnTo>
                  <a:lnTo>
                    <a:pt x="7" y="37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2" y="47"/>
                  </a:lnTo>
                  <a:lnTo>
                    <a:pt x="4" y="51"/>
                  </a:lnTo>
                  <a:lnTo>
                    <a:pt x="4" y="54"/>
                  </a:lnTo>
                  <a:lnTo>
                    <a:pt x="0" y="59"/>
                  </a:lnTo>
                  <a:lnTo>
                    <a:pt x="9" y="61"/>
                  </a:lnTo>
                  <a:lnTo>
                    <a:pt x="10" y="66"/>
                  </a:lnTo>
                  <a:lnTo>
                    <a:pt x="15" y="68"/>
                  </a:lnTo>
                  <a:lnTo>
                    <a:pt x="15" y="75"/>
                  </a:lnTo>
                  <a:lnTo>
                    <a:pt x="14" y="78"/>
                  </a:lnTo>
                  <a:lnTo>
                    <a:pt x="14" y="88"/>
                  </a:lnTo>
                  <a:lnTo>
                    <a:pt x="19" y="88"/>
                  </a:lnTo>
                  <a:lnTo>
                    <a:pt x="34" y="82"/>
                  </a:lnTo>
                  <a:lnTo>
                    <a:pt x="51" y="78"/>
                  </a:lnTo>
                  <a:lnTo>
                    <a:pt x="65" y="76"/>
                  </a:lnTo>
                  <a:lnTo>
                    <a:pt x="75" y="78"/>
                  </a:lnTo>
                  <a:lnTo>
                    <a:pt x="77" y="78"/>
                  </a:lnTo>
                  <a:lnTo>
                    <a:pt x="80" y="78"/>
                  </a:lnTo>
                  <a:lnTo>
                    <a:pt x="80" y="71"/>
                  </a:lnTo>
                  <a:lnTo>
                    <a:pt x="77" y="70"/>
                  </a:lnTo>
                  <a:lnTo>
                    <a:pt x="73" y="58"/>
                  </a:lnTo>
                  <a:lnTo>
                    <a:pt x="75" y="54"/>
                  </a:lnTo>
                  <a:lnTo>
                    <a:pt x="77" y="49"/>
                  </a:lnTo>
                  <a:lnTo>
                    <a:pt x="80" y="39"/>
                  </a:lnTo>
                  <a:lnTo>
                    <a:pt x="84" y="35"/>
                  </a:lnTo>
                  <a:lnTo>
                    <a:pt x="82" y="24"/>
                  </a:lnTo>
                  <a:lnTo>
                    <a:pt x="80" y="24"/>
                  </a:lnTo>
                  <a:lnTo>
                    <a:pt x="82" y="20"/>
                  </a:lnTo>
                  <a:lnTo>
                    <a:pt x="82" y="17"/>
                  </a:lnTo>
                  <a:lnTo>
                    <a:pt x="79" y="17"/>
                  </a:lnTo>
                  <a:lnTo>
                    <a:pt x="73" y="10"/>
                  </a:lnTo>
                  <a:lnTo>
                    <a:pt x="72" y="12"/>
                  </a:lnTo>
                  <a:lnTo>
                    <a:pt x="68" y="10"/>
                  </a:lnTo>
                  <a:lnTo>
                    <a:pt x="58" y="13"/>
                  </a:lnTo>
                  <a:lnTo>
                    <a:pt x="58" y="15"/>
                  </a:lnTo>
                  <a:lnTo>
                    <a:pt x="55" y="13"/>
                  </a:lnTo>
                  <a:lnTo>
                    <a:pt x="53" y="15"/>
                  </a:lnTo>
                  <a:lnTo>
                    <a:pt x="50" y="12"/>
                  </a:lnTo>
                  <a:lnTo>
                    <a:pt x="46" y="6"/>
                  </a:lnTo>
                  <a:lnTo>
                    <a:pt x="43" y="6"/>
                  </a:lnTo>
                  <a:lnTo>
                    <a:pt x="41" y="5"/>
                  </a:lnTo>
                  <a:lnTo>
                    <a:pt x="38" y="5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9" y="3"/>
                  </a:lnTo>
                  <a:lnTo>
                    <a:pt x="26" y="1"/>
                  </a:lnTo>
                  <a:lnTo>
                    <a:pt x="26" y="5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4" y="3"/>
                  </a:lnTo>
                  <a:lnTo>
                    <a:pt x="7" y="8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148">
              <a:extLst>
                <a:ext uri="{FF2B5EF4-FFF2-40B4-BE49-F238E27FC236}">
                  <a16:creationId xmlns:a16="http://schemas.microsoft.com/office/drawing/2014/main" id="{E0F03879-5432-DD47-9776-2AED3CD05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7684" y="2577956"/>
              <a:ext cx="22188" cy="41937"/>
            </a:xfrm>
            <a:custGeom>
              <a:avLst/>
              <a:gdLst/>
              <a:ahLst/>
              <a:cxnLst>
                <a:cxn ang="0">
                  <a:pos x="17" y="85"/>
                </a:cxn>
                <a:cxn ang="0">
                  <a:pos x="15" y="85"/>
                </a:cxn>
                <a:cxn ang="0">
                  <a:pos x="14" y="80"/>
                </a:cxn>
                <a:cxn ang="0">
                  <a:pos x="14" y="71"/>
                </a:cxn>
                <a:cxn ang="0">
                  <a:pos x="14" y="51"/>
                </a:cxn>
                <a:cxn ang="0">
                  <a:pos x="9" y="34"/>
                </a:cxn>
                <a:cxn ang="0">
                  <a:pos x="5" y="30"/>
                </a:cxn>
                <a:cxn ang="0">
                  <a:pos x="0" y="28"/>
                </a:cxn>
                <a:cxn ang="0">
                  <a:pos x="2" y="18"/>
                </a:cxn>
                <a:cxn ang="0">
                  <a:pos x="9" y="11"/>
                </a:cxn>
                <a:cxn ang="0">
                  <a:pos x="17" y="11"/>
                </a:cxn>
                <a:cxn ang="0">
                  <a:pos x="22" y="5"/>
                </a:cxn>
                <a:cxn ang="0">
                  <a:pos x="24" y="5"/>
                </a:cxn>
                <a:cxn ang="0">
                  <a:pos x="22" y="1"/>
                </a:cxn>
                <a:cxn ang="0">
                  <a:pos x="29" y="0"/>
                </a:cxn>
                <a:cxn ang="0">
                  <a:pos x="39" y="8"/>
                </a:cxn>
                <a:cxn ang="0">
                  <a:pos x="38" y="13"/>
                </a:cxn>
                <a:cxn ang="0">
                  <a:pos x="41" y="18"/>
                </a:cxn>
                <a:cxn ang="0">
                  <a:pos x="41" y="27"/>
                </a:cxn>
                <a:cxn ang="0">
                  <a:pos x="38" y="28"/>
                </a:cxn>
                <a:cxn ang="0">
                  <a:pos x="39" y="32"/>
                </a:cxn>
                <a:cxn ang="0">
                  <a:pos x="39" y="34"/>
                </a:cxn>
                <a:cxn ang="0">
                  <a:pos x="32" y="39"/>
                </a:cxn>
                <a:cxn ang="0">
                  <a:pos x="32" y="46"/>
                </a:cxn>
                <a:cxn ang="0">
                  <a:pos x="27" y="52"/>
                </a:cxn>
                <a:cxn ang="0">
                  <a:pos x="26" y="73"/>
                </a:cxn>
                <a:cxn ang="0">
                  <a:pos x="27" y="83"/>
                </a:cxn>
                <a:cxn ang="0">
                  <a:pos x="17" y="85"/>
                </a:cxn>
              </a:cxnLst>
              <a:rect l="0" t="0" r="r" b="b"/>
              <a:pathLst>
                <a:path w="42" h="86">
                  <a:moveTo>
                    <a:pt x="17" y="85"/>
                  </a:moveTo>
                  <a:lnTo>
                    <a:pt x="15" y="85"/>
                  </a:lnTo>
                  <a:lnTo>
                    <a:pt x="14" y="80"/>
                  </a:lnTo>
                  <a:lnTo>
                    <a:pt x="14" y="71"/>
                  </a:lnTo>
                  <a:lnTo>
                    <a:pt x="14" y="51"/>
                  </a:lnTo>
                  <a:lnTo>
                    <a:pt x="9" y="34"/>
                  </a:lnTo>
                  <a:lnTo>
                    <a:pt x="5" y="30"/>
                  </a:lnTo>
                  <a:lnTo>
                    <a:pt x="0" y="28"/>
                  </a:lnTo>
                  <a:lnTo>
                    <a:pt x="2" y="18"/>
                  </a:lnTo>
                  <a:lnTo>
                    <a:pt x="9" y="11"/>
                  </a:lnTo>
                  <a:lnTo>
                    <a:pt x="17" y="11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2" y="1"/>
                  </a:lnTo>
                  <a:lnTo>
                    <a:pt x="29" y="0"/>
                  </a:lnTo>
                  <a:lnTo>
                    <a:pt x="39" y="8"/>
                  </a:lnTo>
                  <a:lnTo>
                    <a:pt x="38" y="13"/>
                  </a:lnTo>
                  <a:lnTo>
                    <a:pt x="41" y="18"/>
                  </a:lnTo>
                  <a:lnTo>
                    <a:pt x="41" y="27"/>
                  </a:lnTo>
                  <a:lnTo>
                    <a:pt x="38" y="28"/>
                  </a:lnTo>
                  <a:lnTo>
                    <a:pt x="39" y="32"/>
                  </a:lnTo>
                  <a:lnTo>
                    <a:pt x="39" y="34"/>
                  </a:lnTo>
                  <a:lnTo>
                    <a:pt x="32" y="39"/>
                  </a:lnTo>
                  <a:lnTo>
                    <a:pt x="32" y="46"/>
                  </a:lnTo>
                  <a:lnTo>
                    <a:pt x="27" y="52"/>
                  </a:lnTo>
                  <a:lnTo>
                    <a:pt x="26" y="73"/>
                  </a:lnTo>
                  <a:lnTo>
                    <a:pt x="27" y="83"/>
                  </a:lnTo>
                  <a:lnTo>
                    <a:pt x="17" y="85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Freeform 149">
              <a:extLst>
                <a:ext uri="{FF2B5EF4-FFF2-40B4-BE49-F238E27FC236}">
                  <a16:creationId xmlns:a16="http://schemas.microsoft.com/office/drawing/2014/main" id="{835DCF1E-47C9-BC4A-9CEC-894765205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8405" y="2603313"/>
              <a:ext cx="30112" cy="28771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4" y="17"/>
                </a:cxn>
                <a:cxn ang="0">
                  <a:pos x="12" y="12"/>
                </a:cxn>
                <a:cxn ang="0">
                  <a:pos x="12" y="7"/>
                </a:cxn>
                <a:cxn ang="0">
                  <a:pos x="17" y="5"/>
                </a:cxn>
                <a:cxn ang="0">
                  <a:pos x="16" y="2"/>
                </a:cxn>
                <a:cxn ang="0">
                  <a:pos x="19" y="0"/>
                </a:cxn>
                <a:cxn ang="0">
                  <a:pos x="21" y="2"/>
                </a:cxn>
                <a:cxn ang="0">
                  <a:pos x="24" y="0"/>
                </a:cxn>
                <a:cxn ang="0">
                  <a:pos x="27" y="4"/>
                </a:cxn>
                <a:cxn ang="0">
                  <a:pos x="29" y="11"/>
                </a:cxn>
                <a:cxn ang="0">
                  <a:pos x="27" y="17"/>
                </a:cxn>
                <a:cxn ang="0">
                  <a:pos x="31" y="17"/>
                </a:cxn>
                <a:cxn ang="0">
                  <a:pos x="34" y="19"/>
                </a:cxn>
                <a:cxn ang="0">
                  <a:pos x="38" y="17"/>
                </a:cxn>
                <a:cxn ang="0">
                  <a:pos x="39" y="12"/>
                </a:cxn>
                <a:cxn ang="0">
                  <a:pos x="41" y="14"/>
                </a:cxn>
                <a:cxn ang="0">
                  <a:pos x="43" y="17"/>
                </a:cxn>
                <a:cxn ang="0">
                  <a:pos x="45" y="21"/>
                </a:cxn>
                <a:cxn ang="0">
                  <a:pos x="45" y="24"/>
                </a:cxn>
                <a:cxn ang="0">
                  <a:pos x="41" y="29"/>
                </a:cxn>
                <a:cxn ang="0">
                  <a:pos x="50" y="31"/>
                </a:cxn>
                <a:cxn ang="0">
                  <a:pos x="51" y="36"/>
                </a:cxn>
                <a:cxn ang="0">
                  <a:pos x="56" y="38"/>
                </a:cxn>
                <a:cxn ang="0">
                  <a:pos x="56" y="45"/>
                </a:cxn>
                <a:cxn ang="0">
                  <a:pos x="55" y="48"/>
                </a:cxn>
                <a:cxn ang="0">
                  <a:pos x="55" y="58"/>
                </a:cxn>
                <a:cxn ang="0">
                  <a:pos x="43" y="55"/>
                </a:cxn>
                <a:cxn ang="0">
                  <a:pos x="31" y="48"/>
                </a:cxn>
                <a:cxn ang="0">
                  <a:pos x="16" y="34"/>
                </a:cxn>
                <a:cxn ang="0">
                  <a:pos x="9" y="31"/>
                </a:cxn>
                <a:cxn ang="0">
                  <a:pos x="0" y="23"/>
                </a:cxn>
              </a:cxnLst>
              <a:rect l="0" t="0" r="r" b="b"/>
              <a:pathLst>
                <a:path w="57" h="59">
                  <a:moveTo>
                    <a:pt x="0" y="23"/>
                  </a:moveTo>
                  <a:lnTo>
                    <a:pt x="4" y="17"/>
                  </a:lnTo>
                  <a:lnTo>
                    <a:pt x="12" y="12"/>
                  </a:lnTo>
                  <a:lnTo>
                    <a:pt x="12" y="7"/>
                  </a:lnTo>
                  <a:lnTo>
                    <a:pt x="17" y="5"/>
                  </a:lnTo>
                  <a:lnTo>
                    <a:pt x="16" y="2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4" y="0"/>
                  </a:lnTo>
                  <a:lnTo>
                    <a:pt x="27" y="4"/>
                  </a:lnTo>
                  <a:lnTo>
                    <a:pt x="29" y="11"/>
                  </a:lnTo>
                  <a:lnTo>
                    <a:pt x="27" y="17"/>
                  </a:lnTo>
                  <a:lnTo>
                    <a:pt x="31" y="17"/>
                  </a:lnTo>
                  <a:lnTo>
                    <a:pt x="34" y="19"/>
                  </a:lnTo>
                  <a:lnTo>
                    <a:pt x="38" y="17"/>
                  </a:lnTo>
                  <a:lnTo>
                    <a:pt x="39" y="12"/>
                  </a:lnTo>
                  <a:lnTo>
                    <a:pt x="41" y="14"/>
                  </a:lnTo>
                  <a:lnTo>
                    <a:pt x="43" y="17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1" y="29"/>
                  </a:lnTo>
                  <a:lnTo>
                    <a:pt x="50" y="31"/>
                  </a:lnTo>
                  <a:lnTo>
                    <a:pt x="51" y="36"/>
                  </a:lnTo>
                  <a:lnTo>
                    <a:pt x="56" y="38"/>
                  </a:lnTo>
                  <a:lnTo>
                    <a:pt x="56" y="45"/>
                  </a:lnTo>
                  <a:lnTo>
                    <a:pt x="55" y="48"/>
                  </a:lnTo>
                  <a:lnTo>
                    <a:pt x="55" y="58"/>
                  </a:lnTo>
                  <a:lnTo>
                    <a:pt x="43" y="55"/>
                  </a:lnTo>
                  <a:lnTo>
                    <a:pt x="31" y="48"/>
                  </a:lnTo>
                  <a:lnTo>
                    <a:pt x="16" y="34"/>
                  </a:lnTo>
                  <a:lnTo>
                    <a:pt x="9" y="31"/>
                  </a:lnTo>
                  <a:lnTo>
                    <a:pt x="0" y="23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 150">
              <a:extLst>
                <a:ext uri="{FF2B5EF4-FFF2-40B4-BE49-F238E27FC236}">
                  <a16:creationId xmlns:a16="http://schemas.microsoft.com/office/drawing/2014/main" id="{1E316ED7-A293-C840-A554-1CD161284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344" y="2586734"/>
              <a:ext cx="15848" cy="34623"/>
            </a:xfrm>
            <a:custGeom>
              <a:avLst/>
              <a:gdLst/>
              <a:ahLst/>
              <a:cxnLst>
                <a:cxn ang="0">
                  <a:pos x="29" y="67"/>
                </a:cxn>
                <a:cxn ang="0">
                  <a:pos x="19" y="70"/>
                </a:cxn>
                <a:cxn ang="0">
                  <a:pos x="14" y="65"/>
                </a:cxn>
                <a:cxn ang="0">
                  <a:pos x="10" y="58"/>
                </a:cxn>
                <a:cxn ang="0">
                  <a:pos x="9" y="24"/>
                </a:cxn>
                <a:cxn ang="0">
                  <a:pos x="5" y="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5" y="2"/>
                </a:cxn>
                <a:cxn ang="0">
                  <a:pos x="9" y="2"/>
                </a:cxn>
                <a:cxn ang="0">
                  <a:pos x="14" y="0"/>
                </a:cxn>
                <a:cxn ang="0">
                  <a:pos x="12" y="10"/>
                </a:cxn>
                <a:cxn ang="0">
                  <a:pos x="17" y="12"/>
                </a:cxn>
                <a:cxn ang="0">
                  <a:pos x="21" y="16"/>
                </a:cxn>
                <a:cxn ang="0">
                  <a:pos x="26" y="33"/>
                </a:cxn>
                <a:cxn ang="0">
                  <a:pos x="26" y="53"/>
                </a:cxn>
                <a:cxn ang="0">
                  <a:pos x="26" y="62"/>
                </a:cxn>
                <a:cxn ang="0">
                  <a:pos x="27" y="67"/>
                </a:cxn>
                <a:cxn ang="0">
                  <a:pos x="29" y="67"/>
                </a:cxn>
              </a:cxnLst>
              <a:rect l="0" t="0" r="r" b="b"/>
              <a:pathLst>
                <a:path w="30" h="71">
                  <a:moveTo>
                    <a:pt x="29" y="67"/>
                  </a:moveTo>
                  <a:lnTo>
                    <a:pt x="19" y="70"/>
                  </a:lnTo>
                  <a:lnTo>
                    <a:pt x="14" y="65"/>
                  </a:lnTo>
                  <a:lnTo>
                    <a:pt x="10" y="58"/>
                  </a:lnTo>
                  <a:lnTo>
                    <a:pt x="9" y="24"/>
                  </a:lnTo>
                  <a:lnTo>
                    <a:pt x="5" y="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5" y="2"/>
                  </a:lnTo>
                  <a:lnTo>
                    <a:pt x="9" y="2"/>
                  </a:lnTo>
                  <a:lnTo>
                    <a:pt x="14" y="0"/>
                  </a:lnTo>
                  <a:lnTo>
                    <a:pt x="12" y="10"/>
                  </a:lnTo>
                  <a:lnTo>
                    <a:pt x="17" y="12"/>
                  </a:lnTo>
                  <a:lnTo>
                    <a:pt x="21" y="16"/>
                  </a:lnTo>
                  <a:lnTo>
                    <a:pt x="26" y="33"/>
                  </a:lnTo>
                  <a:lnTo>
                    <a:pt x="26" y="53"/>
                  </a:lnTo>
                  <a:lnTo>
                    <a:pt x="26" y="62"/>
                  </a:lnTo>
                  <a:lnTo>
                    <a:pt x="27" y="67"/>
                  </a:lnTo>
                  <a:lnTo>
                    <a:pt x="29" y="67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Freeform 151">
              <a:extLst>
                <a:ext uri="{FF2B5EF4-FFF2-40B4-BE49-F238E27FC236}">
                  <a16:creationId xmlns:a16="http://schemas.microsoft.com/office/drawing/2014/main" id="{BA0E29EB-64BF-444A-8B38-A1BBCCB2A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2519" y="2575030"/>
              <a:ext cx="54413" cy="38036"/>
            </a:xfrm>
            <a:custGeom>
              <a:avLst/>
              <a:gdLst/>
              <a:ahLst/>
              <a:cxnLst>
                <a:cxn ang="0">
                  <a:pos x="27" y="2"/>
                </a:cxn>
                <a:cxn ang="0">
                  <a:pos x="30" y="2"/>
                </a:cxn>
                <a:cxn ang="0">
                  <a:pos x="53" y="4"/>
                </a:cxn>
                <a:cxn ang="0">
                  <a:pos x="51" y="9"/>
                </a:cxn>
                <a:cxn ang="0">
                  <a:pos x="58" y="7"/>
                </a:cxn>
                <a:cxn ang="0">
                  <a:pos x="66" y="7"/>
                </a:cxn>
                <a:cxn ang="0">
                  <a:pos x="75" y="7"/>
                </a:cxn>
                <a:cxn ang="0">
                  <a:pos x="78" y="4"/>
                </a:cxn>
                <a:cxn ang="0">
                  <a:pos x="83" y="7"/>
                </a:cxn>
                <a:cxn ang="0">
                  <a:pos x="87" y="11"/>
                </a:cxn>
                <a:cxn ang="0">
                  <a:pos x="88" y="14"/>
                </a:cxn>
                <a:cxn ang="0">
                  <a:pos x="92" y="19"/>
                </a:cxn>
                <a:cxn ang="0">
                  <a:pos x="88" y="23"/>
                </a:cxn>
                <a:cxn ang="0">
                  <a:pos x="90" y="24"/>
                </a:cxn>
                <a:cxn ang="0">
                  <a:pos x="94" y="31"/>
                </a:cxn>
                <a:cxn ang="0">
                  <a:pos x="95" y="40"/>
                </a:cxn>
                <a:cxn ang="0">
                  <a:pos x="99" y="46"/>
                </a:cxn>
                <a:cxn ang="0">
                  <a:pos x="100" y="52"/>
                </a:cxn>
                <a:cxn ang="0">
                  <a:pos x="100" y="57"/>
                </a:cxn>
                <a:cxn ang="0">
                  <a:pos x="99" y="60"/>
                </a:cxn>
                <a:cxn ang="0">
                  <a:pos x="94" y="63"/>
                </a:cxn>
                <a:cxn ang="0">
                  <a:pos x="97" y="65"/>
                </a:cxn>
                <a:cxn ang="0">
                  <a:pos x="90" y="72"/>
                </a:cxn>
                <a:cxn ang="0">
                  <a:pos x="87" y="75"/>
                </a:cxn>
                <a:cxn ang="0">
                  <a:pos x="80" y="75"/>
                </a:cxn>
                <a:cxn ang="0">
                  <a:pos x="78" y="69"/>
                </a:cxn>
                <a:cxn ang="0">
                  <a:pos x="73" y="58"/>
                </a:cxn>
                <a:cxn ang="0">
                  <a:pos x="68" y="58"/>
                </a:cxn>
                <a:cxn ang="0">
                  <a:pos x="65" y="58"/>
                </a:cxn>
                <a:cxn ang="0">
                  <a:pos x="61" y="57"/>
                </a:cxn>
                <a:cxn ang="0">
                  <a:pos x="63" y="53"/>
                </a:cxn>
                <a:cxn ang="0">
                  <a:pos x="61" y="48"/>
                </a:cxn>
                <a:cxn ang="0">
                  <a:pos x="58" y="43"/>
                </a:cxn>
                <a:cxn ang="0">
                  <a:pos x="37" y="40"/>
                </a:cxn>
                <a:cxn ang="0">
                  <a:pos x="29" y="52"/>
                </a:cxn>
                <a:cxn ang="0">
                  <a:pos x="18" y="45"/>
                </a:cxn>
                <a:cxn ang="0">
                  <a:pos x="10" y="36"/>
                </a:cxn>
                <a:cxn ang="0">
                  <a:pos x="5" y="29"/>
                </a:cxn>
                <a:cxn ang="0">
                  <a:pos x="1" y="28"/>
                </a:cxn>
                <a:cxn ang="0">
                  <a:pos x="3" y="24"/>
                </a:cxn>
                <a:cxn ang="0">
                  <a:pos x="18" y="14"/>
                </a:cxn>
                <a:cxn ang="0">
                  <a:pos x="17" y="7"/>
                </a:cxn>
                <a:cxn ang="0">
                  <a:pos x="18" y="0"/>
                </a:cxn>
              </a:cxnLst>
              <a:rect l="0" t="0" r="r" b="b"/>
              <a:pathLst>
                <a:path w="103" h="78">
                  <a:moveTo>
                    <a:pt x="18" y="0"/>
                  </a:moveTo>
                  <a:lnTo>
                    <a:pt x="27" y="2"/>
                  </a:lnTo>
                  <a:lnTo>
                    <a:pt x="29" y="4"/>
                  </a:lnTo>
                  <a:lnTo>
                    <a:pt x="30" y="2"/>
                  </a:lnTo>
                  <a:lnTo>
                    <a:pt x="37" y="6"/>
                  </a:lnTo>
                  <a:lnTo>
                    <a:pt x="53" y="4"/>
                  </a:lnTo>
                  <a:lnTo>
                    <a:pt x="49" y="9"/>
                  </a:lnTo>
                  <a:lnTo>
                    <a:pt x="51" y="9"/>
                  </a:lnTo>
                  <a:lnTo>
                    <a:pt x="53" y="11"/>
                  </a:lnTo>
                  <a:lnTo>
                    <a:pt x="58" y="7"/>
                  </a:lnTo>
                  <a:lnTo>
                    <a:pt x="61" y="11"/>
                  </a:lnTo>
                  <a:lnTo>
                    <a:pt x="66" y="7"/>
                  </a:lnTo>
                  <a:lnTo>
                    <a:pt x="73" y="11"/>
                  </a:lnTo>
                  <a:lnTo>
                    <a:pt x="75" y="7"/>
                  </a:lnTo>
                  <a:lnTo>
                    <a:pt x="78" y="6"/>
                  </a:lnTo>
                  <a:lnTo>
                    <a:pt x="78" y="4"/>
                  </a:lnTo>
                  <a:lnTo>
                    <a:pt x="83" y="4"/>
                  </a:lnTo>
                  <a:lnTo>
                    <a:pt x="83" y="7"/>
                  </a:lnTo>
                  <a:lnTo>
                    <a:pt x="85" y="7"/>
                  </a:lnTo>
                  <a:lnTo>
                    <a:pt x="87" y="11"/>
                  </a:lnTo>
                  <a:lnTo>
                    <a:pt x="87" y="16"/>
                  </a:lnTo>
                  <a:lnTo>
                    <a:pt x="88" y="14"/>
                  </a:lnTo>
                  <a:lnTo>
                    <a:pt x="88" y="17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88" y="23"/>
                  </a:lnTo>
                  <a:lnTo>
                    <a:pt x="88" y="26"/>
                  </a:lnTo>
                  <a:lnTo>
                    <a:pt x="90" y="24"/>
                  </a:lnTo>
                  <a:lnTo>
                    <a:pt x="92" y="24"/>
                  </a:lnTo>
                  <a:lnTo>
                    <a:pt x="94" y="31"/>
                  </a:lnTo>
                  <a:lnTo>
                    <a:pt x="97" y="36"/>
                  </a:lnTo>
                  <a:lnTo>
                    <a:pt x="95" y="40"/>
                  </a:lnTo>
                  <a:lnTo>
                    <a:pt x="95" y="46"/>
                  </a:lnTo>
                  <a:lnTo>
                    <a:pt x="99" y="46"/>
                  </a:lnTo>
                  <a:lnTo>
                    <a:pt x="99" y="50"/>
                  </a:lnTo>
                  <a:lnTo>
                    <a:pt x="100" y="52"/>
                  </a:lnTo>
                  <a:lnTo>
                    <a:pt x="99" y="55"/>
                  </a:lnTo>
                  <a:lnTo>
                    <a:pt x="100" y="57"/>
                  </a:lnTo>
                  <a:lnTo>
                    <a:pt x="102" y="62"/>
                  </a:lnTo>
                  <a:lnTo>
                    <a:pt x="99" y="60"/>
                  </a:lnTo>
                  <a:lnTo>
                    <a:pt x="94" y="60"/>
                  </a:lnTo>
                  <a:lnTo>
                    <a:pt x="94" y="63"/>
                  </a:lnTo>
                  <a:lnTo>
                    <a:pt x="97" y="63"/>
                  </a:lnTo>
                  <a:lnTo>
                    <a:pt x="97" y="65"/>
                  </a:lnTo>
                  <a:lnTo>
                    <a:pt x="95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7" y="75"/>
                  </a:lnTo>
                  <a:lnTo>
                    <a:pt x="83" y="77"/>
                  </a:lnTo>
                  <a:lnTo>
                    <a:pt x="80" y="75"/>
                  </a:lnTo>
                  <a:lnTo>
                    <a:pt x="76" y="75"/>
                  </a:lnTo>
                  <a:lnTo>
                    <a:pt x="78" y="69"/>
                  </a:lnTo>
                  <a:lnTo>
                    <a:pt x="76" y="62"/>
                  </a:lnTo>
                  <a:lnTo>
                    <a:pt x="73" y="58"/>
                  </a:lnTo>
                  <a:lnTo>
                    <a:pt x="70" y="60"/>
                  </a:lnTo>
                  <a:lnTo>
                    <a:pt x="68" y="58"/>
                  </a:lnTo>
                  <a:lnTo>
                    <a:pt x="65" y="60"/>
                  </a:lnTo>
                  <a:lnTo>
                    <a:pt x="65" y="58"/>
                  </a:lnTo>
                  <a:lnTo>
                    <a:pt x="61" y="62"/>
                  </a:lnTo>
                  <a:lnTo>
                    <a:pt x="61" y="57"/>
                  </a:lnTo>
                  <a:lnTo>
                    <a:pt x="63" y="57"/>
                  </a:lnTo>
                  <a:lnTo>
                    <a:pt x="63" y="53"/>
                  </a:lnTo>
                  <a:lnTo>
                    <a:pt x="61" y="52"/>
                  </a:lnTo>
                  <a:lnTo>
                    <a:pt x="61" y="48"/>
                  </a:lnTo>
                  <a:lnTo>
                    <a:pt x="58" y="46"/>
                  </a:lnTo>
                  <a:lnTo>
                    <a:pt x="58" y="43"/>
                  </a:lnTo>
                  <a:lnTo>
                    <a:pt x="53" y="38"/>
                  </a:lnTo>
                  <a:lnTo>
                    <a:pt x="37" y="40"/>
                  </a:lnTo>
                  <a:lnTo>
                    <a:pt x="36" y="45"/>
                  </a:lnTo>
                  <a:lnTo>
                    <a:pt x="29" y="52"/>
                  </a:lnTo>
                  <a:lnTo>
                    <a:pt x="25" y="52"/>
                  </a:lnTo>
                  <a:lnTo>
                    <a:pt x="18" y="45"/>
                  </a:lnTo>
                  <a:lnTo>
                    <a:pt x="17" y="40"/>
                  </a:lnTo>
                  <a:lnTo>
                    <a:pt x="10" y="36"/>
                  </a:lnTo>
                  <a:lnTo>
                    <a:pt x="8" y="29"/>
                  </a:lnTo>
                  <a:lnTo>
                    <a:pt x="5" y="29"/>
                  </a:lnTo>
                  <a:lnTo>
                    <a:pt x="5" y="26"/>
                  </a:lnTo>
                  <a:lnTo>
                    <a:pt x="1" y="28"/>
                  </a:lnTo>
                  <a:lnTo>
                    <a:pt x="0" y="26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8" y="14"/>
                  </a:lnTo>
                  <a:lnTo>
                    <a:pt x="18" y="11"/>
                  </a:lnTo>
                  <a:lnTo>
                    <a:pt x="17" y="7"/>
                  </a:lnTo>
                  <a:lnTo>
                    <a:pt x="20" y="6"/>
                  </a:lnTo>
                  <a:lnTo>
                    <a:pt x="18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" name="Freeform 152">
              <a:extLst>
                <a:ext uri="{FF2B5EF4-FFF2-40B4-BE49-F238E27FC236}">
                  <a16:creationId xmlns:a16="http://schemas.microsoft.com/office/drawing/2014/main" id="{CB1E1B71-D531-0C4D-999B-F6DC5FF7D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8629" y="2586734"/>
              <a:ext cx="33281" cy="43888"/>
            </a:xfrm>
            <a:custGeom>
              <a:avLst/>
              <a:gdLst/>
              <a:ahLst/>
              <a:cxnLst>
                <a:cxn ang="0">
                  <a:pos x="62" y="70"/>
                </a:cxn>
                <a:cxn ang="0">
                  <a:pos x="57" y="65"/>
                </a:cxn>
                <a:cxn ang="0">
                  <a:pos x="53" y="58"/>
                </a:cxn>
                <a:cxn ang="0">
                  <a:pos x="52" y="24"/>
                </a:cxn>
                <a:cxn ang="0">
                  <a:pos x="48" y="12"/>
                </a:cxn>
                <a:cxn ang="0">
                  <a:pos x="43" y="5"/>
                </a:cxn>
                <a:cxn ang="0">
                  <a:pos x="45" y="2"/>
                </a:cxn>
                <a:cxn ang="0">
                  <a:pos x="43" y="2"/>
                </a:cxn>
                <a:cxn ang="0">
                  <a:pos x="43" y="0"/>
                </a:cxn>
                <a:cxn ang="0">
                  <a:pos x="33" y="2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7" y="10"/>
                </a:cxn>
                <a:cxn ang="0">
                  <a:pos x="9" y="21"/>
                </a:cxn>
                <a:cxn ang="0">
                  <a:pos x="9" y="24"/>
                </a:cxn>
                <a:cxn ang="0">
                  <a:pos x="7" y="28"/>
                </a:cxn>
                <a:cxn ang="0">
                  <a:pos x="9" y="28"/>
                </a:cxn>
                <a:cxn ang="0">
                  <a:pos x="11" y="39"/>
                </a:cxn>
                <a:cxn ang="0">
                  <a:pos x="7" y="43"/>
                </a:cxn>
                <a:cxn ang="0">
                  <a:pos x="4" y="53"/>
                </a:cxn>
                <a:cxn ang="0">
                  <a:pos x="2" y="58"/>
                </a:cxn>
                <a:cxn ang="0">
                  <a:pos x="0" y="62"/>
                </a:cxn>
                <a:cxn ang="0">
                  <a:pos x="4" y="74"/>
                </a:cxn>
                <a:cxn ang="0">
                  <a:pos x="7" y="75"/>
                </a:cxn>
                <a:cxn ang="0">
                  <a:pos x="7" y="82"/>
                </a:cxn>
                <a:cxn ang="0">
                  <a:pos x="4" y="82"/>
                </a:cxn>
                <a:cxn ang="0">
                  <a:pos x="2" y="82"/>
                </a:cxn>
                <a:cxn ang="0">
                  <a:pos x="18" y="89"/>
                </a:cxn>
                <a:cxn ang="0">
                  <a:pos x="24" y="84"/>
                </a:cxn>
                <a:cxn ang="0">
                  <a:pos x="35" y="80"/>
                </a:cxn>
                <a:cxn ang="0">
                  <a:pos x="47" y="75"/>
                </a:cxn>
                <a:cxn ang="0">
                  <a:pos x="48" y="74"/>
                </a:cxn>
                <a:cxn ang="0">
                  <a:pos x="58" y="74"/>
                </a:cxn>
                <a:cxn ang="0">
                  <a:pos x="62" y="70"/>
                </a:cxn>
              </a:cxnLst>
              <a:rect l="0" t="0" r="r" b="b"/>
              <a:pathLst>
                <a:path w="63" h="90">
                  <a:moveTo>
                    <a:pt x="62" y="70"/>
                  </a:moveTo>
                  <a:lnTo>
                    <a:pt x="57" y="65"/>
                  </a:lnTo>
                  <a:lnTo>
                    <a:pt x="53" y="58"/>
                  </a:lnTo>
                  <a:lnTo>
                    <a:pt x="52" y="24"/>
                  </a:lnTo>
                  <a:lnTo>
                    <a:pt x="48" y="12"/>
                  </a:lnTo>
                  <a:lnTo>
                    <a:pt x="43" y="5"/>
                  </a:lnTo>
                  <a:lnTo>
                    <a:pt x="45" y="2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33" y="2"/>
                  </a:lnTo>
                  <a:lnTo>
                    <a:pt x="6" y="0"/>
                  </a:lnTo>
                  <a:lnTo>
                    <a:pt x="4" y="5"/>
                  </a:lnTo>
                  <a:lnTo>
                    <a:pt x="7" y="10"/>
                  </a:lnTo>
                  <a:lnTo>
                    <a:pt x="9" y="21"/>
                  </a:lnTo>
                  <a:lnTo>
                    <a:pt x="9" y="24"/>
                  </a:lnTo>
                  <a:lnTo>
                    <a:pt x="7" y="28"/>
                  </a:lnTo>
                  <a:lnTo>
                    <a:pt x="9" y="28"/>
                  </a:lnTo>
                  <a:lnTo>
                    <a:pt x="11" y="39"/>
                  </a:lnTo>
                  <a:lnTo>
                    <a:pt x="7" y="43"/>
                  </a:lnTo>
                  <a:lnTo>
                    <a:pt x="4" y="53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4" y="74"/>
                  </a:lnTo>
                  <a:lnTo>
                    <a:pt x="7" y="75"/>
                  </a:lnTo>
                  <a:lnTo>
                    <a:pt x="7" y="82"/>
                  </a:lnTo>
                  <a:lnTo>
                    <a:pt x="4" y="82"/>
                  </a:lnTo>
                  <a:lnTo>
                    <a:pt x="2" y="82"/>
                  </a:lnTo>
                  <a:lnTo>
                    <a:pt x="18" y="89"/>
                  </a:lnTo>
                  <a:lnTo>
                    <a:pt x="24" y="84"/>
                  </a:lnTo>
                  <a:lnTo>
                    <a:pt x="35" y="80"/>
                  </a:lnTo>
                  <a:lnTo>
                    <a:pt x="47" y="75"/>
                  </a:lnTo>
                  <a:lnTo>
                    <a:pt x="48" y="74"/>
                  </a:lnTo>
                  <a:lnTo>
                    <a:pt x="58" y="74"/>
                  </a:lnTo>
                  <a:lnTo>
                    <a:pt x="62" y="7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" name="Freeform 153">
              <a:extLst>
                <a:ext uri="{FF2B5EF4-FFF2-40B4-BE49-F238E27FC236}">
                  <a16:creationId xmlns:a16="http://schemas.microsoft.com/office/drawing/2014/main" id="{B9284F4E-B307-E84D-A2A4-944691526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9841" y="2567716"/>
              <a:ext cx="22716" cy="8290"/>
            </a:xfrm>
            <a:custGeom>
              <a:avLst/>
              <a:gdLst/>
              <a:ahLst/>
              <a:cxnLst>
                <a:cxn ang="0">
                  <a:pos x="3" y="4"/>
                </a:cxn>
                <a:cxn ang="0">
                  <a:pos x="17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34" y="8"/>
                </a:cxn>
                <a:cxn ang="0">
                  <a:pos x="41" y="4"/>
                </a:cxn>
                <a:cxn ang="0">
                  <a:pos x="42" y="8"/>
                </a:cxn>
                <a:cxn ang="0">
                  <a:pos x="37" y="14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15" y="11"/>
                </a:cxn>
                <a:cxn ang="0">
                  <a:pos x="13" y="14"/>
                </a:cxn>
                <a:cxn ang="0">
                  <a:pos x="2" y="14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8"/>
                </a:cxn>
                <a:cxn ang="0">
                  <a:pos x="3" y="4"/>
                </a:cxn>
              </a:cxnLst>
              <a:rect l="0" t="0" r="r" b="b"/>
              <a:pathLst>
                <a:path w="43" h="17">
                  <a:moveTo>
                    <a:pt x="3" y="4"/>
                  </a:moveTo>
                  <a:lnTo>
                    <a:pt x="17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34" y="8"/>
                  </a:lnTo>
                  <a:lnTo>
                    <a:pt x="41" y="4"/>
                  </a:lnTo>
                  <a:lnTo>
                    <a:pt x="42" y="8"/>
                  </a:lnTo>
                  <a:lnTo>
                    <a:pt x="37" y="14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15" y="11"/>
                  </a:lnTo>
                  <a:lnTo>
                    <a:pt x="13" y="14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3" y="8"/>
                  </a:lnTo>
                  <a:lnTo>
                    <a:pt x="3" y="4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" name="Freeform 154">
              <a:extLst>
                <a:ext uri="{FF2B5EF4-FFF2-40B4-BE49-F238E27FC236}">
                  <a16:creationId xmlns:a16="http://schemas.microsoft.com/office/drawing/2014/main" id="{A350E248-0FD4-A54E-BA70-0D3EDAA783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0897" y="2575030"/>
              <a:ext cx="22716" cy="13166"/>
            </a:xfrm>
            <a:custGeom>
              <a:avLst/>
              <a:gdLst/>
              <a:ahLst/>
              <a:cxnLst>
                <a:cxn ang="0">
                  <a:pos x="22" y="26"/>
                </a:cxn>
                <a:cxn ang="0">
                  <a:pos x="25" y="24"/>
                </a:cxn>
                <a:cxn ang="0">
                  <a:pos x="29" y="17"/>
                </a:cxn>
                <a:cxn ang="0">
                  <a:pos x="40" y="14"/>
                </a:cxn>
                <a:cxn ang="0">
                  <a:pos x="40" y="11"/>
                </a:cxn>
                <a:cxn ang="0">
                  <a:pos x="39" y="7"/>
                </a:cxn>
                <a:cxn ang="0">
                  <a:pos x="42" y="6"/>
                </a:cxn>
                <a:cxn ang="0">
                  <a:pos x="40" y="0"/>
                </a:cxn>
                <a:cxn ang="0">
                  <a:pos x="22" y="0"/>
                </a:cxn>
                <a:cxn ang="0">
                  <a:pos x="13" y="4"/>
                </a:cxn>
                <a:cxn ang="0">
                  <a:pos x="6" y="4"/>
                </a:cxn>
                <a:cxn ang="0">
                  <a:pos x="3" y="6"/>
                </a:cxn>
                <a:cxn ang="0">
                  <a:pos x="0" y="4"/>
                </a:cxn>
                <a:cxn ang="0">
                  <a:pos x="0" y="7"/>
                </a:cxn>
                <a:cxn ang="0">
                  <a:pos x="5" y="9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1" y="14"/>
                </a:cxn>
                <a:cxn ang="0">
                  <a:pos x="25" y="12"/>
                </a:cxn>
                <a:cxn ang="0">
                  <a:pos x="17" y="16"/>
                </a:cxn>
                <a:cxn ang="0">
                  <a:pos x="18" y="23"/>
                </a:cxn>
                <a:cxn ang="0">
                  <a:pos x="18" y="24"/>
                </a:cxn>
                <a:cxn ang="0">
                  <a:pos x="22" y="24"/>
                </a:cxn>
                <a:cxn ang="0">
                  <a:pos x="22" y="26"/>
                </a:cxn>
              </a:cxnLst>
              <a:rect l="0" t="0" r="r" b="b"/>
              <a:pathLst>
                <a:path w="43" h="27">
                  <a:moveTo>
                    <a:pt x="22" y="26"/>
                  </a:moveTo>
                  <a:lnTo>
                    <a:pt x="25" y="24"/>
                  </a:lnTo>
                  <a:lnTo>
                    <a:pt x="29" y="17"/>
                  </a:lnTo>
                  <a:lnTo>
                    <a:pt x="40" y="14"/>
                  </a:lnTo>
                  <a:lnTo>
                    <a:pt x="40" y="11"/>
                  </a:lnTo>
                  <a:lnTo>
                    <a:pt x="39" y="7"/>
                  </a:lnTo>
                  <a:lnTo>
                    <a:pt x="42" y="6"/>
                  </a:lnTo>
                  <a:lnTo>
                    <a:pt x="40" y="0"/>
                  </a:lnTo>
                  <a:lnTo>
                    <a:pt x="22" y="0"/>
                  </a:lnTo>
                  <a:lnTo>
                    <a:pt x="13" y="4"/>
                  </a:lnTo>
                  <a:lnTo>
                    <a:pt x="6" y="4"/>
                  </a:lnTo>
                  <a:lnTo>
                    <a:pt x="3" y="6"/>
                  </a:lnTo>
                  <a:lnTo>
                    <a:pt x="0" y="4"/>
                  </a:lnTo>
                  <a:lnTo>
                    <a:pt x="0" y="7"/>
                  </a:lnTo>
                  <a:lnTo>
                    <a:pt x="5" y="9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1" y="14"/>
                  </a:lnTo>
                  <a:lnTo>
                    <a:pt x="25" y="12"/>
                  </a:lnTo>
                  <a:lnTo>
                    <a:pt x="17" y="16"/>
                  </a:lnTo>
                  <a:lnTo>
                    <a:pt x="18" y="23"/>
                  </a:lnTo>
                  <a:lnTo>
                    <a:pt x="18" y="24"/>
                  </a:lnTo>
                  <a:lnTo>
                    <a:pt x="22" y="24"/>
                  </a:lnTo>
                  <a:lnTo>
                    <a:pt x="22" y="26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9" name="Freeform 155">
              <a:extLst>
                <a:ext uri="{FF2B5EF4-FFF2-40B4-BE49-F238E27FC236}">
                  <a16:creationId xmlns:a16="http://schemas.microsoft.com/office/drawing/2014/main" id="{99F6A88B-7FCE-4F48-BE0A-FFE021B3E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5726" y="2593561"/>
              <a:ext cx="22188" cy="21456"/>
            </a:xfrm>
            <a:custGeom>
              <a:avLst/>
              <a:gdLst/>
              <a:ahLst/>
              <a:cxnLst>
                <a:cxn ang="0">
                  <a:pos x="24" y="43"/>
                </a:cxn>
                <a:cxn ang="0">
                  <a:pos x="28" y="37"/>
                </a:cxn>
                <a:cxn ang="0">
                  <a:pos x="36" y="32"/>
                </a:cxn>
                <a:cxn ang="0">
                  <a:pos x="36" y="27"/>
                </a:cxn>
                <a:cxn ang="0">
                  <a:pos x="41" y="25"/>
                </a:cxn>
                <a:cxn ang="0">
                  <a:pos x="40" y="22"/>
                </a:cxn>
                <a:cxn ang="0">
                  <a:pos x="40" y="20"/>
                </a:cxn>
                <a:cxn ang="0">
                  <a:pos x="36" y="24"/>
                </a:cxn>
                <a:cxn ang="0">
                  <a:pos x="36" y="19"/>
                </a:cxn>
                <a:cxn ang="0">
                  <a:pos x="38" y="19"/>
                </a:cxn>
                <a:cxn ang="0">
                  <a:pos x="38" y="15"/>
                </a:cxn>
                <a:cxn ang="0">
                  <a:pos x="36" y="14"/>
                </a:cxn>
                <a:cxn ang="0">
                  <a:pos x="36" y="10"/>
                </a:cxn>
                <a:cxn ang="0">
                  <a:pos x="33" y="8"/>
                </a:cxn>
                <a:cxn ang="0">
                  <a:pos x="33" y="5"/>
                </a:cxn>
                <a:cxn ang="0">
                  <a:pos x="28" y="0"/>
                </a:cxn>
                <a:cxn ang="0">
                  <a:pos x="12" y="2"/>
                </a:cxn>
                <a:cxn ang="0">
                  <a:pos x="11" y="7"/>
                </a:cxn>
                <a:cxn ang="0">
                  <a:pos x="4" y="14"/>
                </a:cxn>
                <a:cxn ang="0">
                  <a:pos x="0" y="14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0" y="22"/>
                </a:cxn>
                <a:cxn ang="0">
                  <a:pos x="0" y="24"/>
                </a:cxn>
                <a:cxn ang="0">
                  <a:pos x="4" y="27"/>
                </a:cxn>
                <a:cxn ang="0">
                  <a:pos x="5" y="31"/>
                </a:cxn>
                <a:cxn ang="0">
                  <a:pos x="11" y="34"/>
                </a:cxn>
                <a:cxn ang="0">
                  <a:pos x="12" y="37"/>
                </a:cxn>
                <a:cxn ang="0">
                  <a:pos x="24" y="43"/>
                </a:cxn>
              </a:cxnLst>
              <a:rect l="0" t="0" r="r" b="b"/>
              <a:pathLst>
                <a:path w="42" h="44">
                  <a:moveTo>
                    <a:pt x="24" y="43"/>
                  </a:moveTo>
                  <a:lnTo>
                    <a:pt x="28" y="37"/>
                  </a:lnTo>
                  <a:lnTo>
                    <a:pt x="36" y="32"/>
                  </a:lnTo>
                  <a:lnTo>
                    <a:pt x="36" y="27"/>
                  </a:lnTo>
                  <a:lnTo>
                    <a:pt x="41" y="25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19"/>
                  </a:lnTo>
                  <a:lnTo>
                    <a:pt x="38" y="19"/>
                  </a:lnTo>
                  <a:lnTo>
                    <a:pt x="38" y="15"/>
                  </a:lnTo>
                  <a:lnTo>
                    <a:pt x="36" y="14"/>
                  </a:lnTo>
                  <a:lnTo>
                    <a:pt x="36" y="10"/>
                  </a:lnTo>
                  <a:lnTo>
                    <a:pt x="33" y="8"/>
                  </a:lnTo>
                  <a:lnTo>
                    <a:pt x="33" y="5"/>
                  </a:lnTo>
                  <a:lnTo>
                    <a:pt x="28" y="0"/>
                  </a:lnTo>
                  <a:lnTo>
                    <a:pt x="12" y="2"/>
                  </a:lnTo>
                  <a:lnTo>
                    <a:pt x="11" y="7"/>
                  </a:lnTo>
                  <a:lnTo>
                    <a:pt x="4" y="14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4" y="27"/>
                  </a:lnTo>
                  <a:lnTo>
                    <a:pt x="5" y="31"/>
                  </a:lnTo>
                  <a:lnTo>
                    <a:pt x="11" y="34"/>
                  </a:lnTo>
                  <a:lnTo>
                    <a:pt x="12" y="37"/>
                  </a:lnTo>
                  <a:lnTo>
                    <a:pt x="24" y="43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0" name="Freeform 156">
              <a:extLst>
                <a:ext uri="{FF2B5EF4-FFF2-40B4-BE49-F238E27FC236}">
                  <a16:creationId xmlns:a16="http://schemas.microsoft.com/office/drawing/2014/main" id="{A72EACA0-A5CD-3C46-93C5-51797AA1D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4558" y="2547722"/>
              <a:ext cx="46488" cy="30721"/>
            </a:xfrm>
            <a:custGeom>
              <a:avLst/>
              <a:gdLst/>
              <a:ahLst/>
              <a:cxnLst>
                <a:cxn ang="0">
                  <a:pos x="12" y="60"/>
                </a:cxn>
                <a:cxn ang="0">
                  <a:pos x="10" y="51"/>
                </a:cxn>
                <a:cxn ang="0">
                  <a:pos x="12" y="50"/>
                </a:cxn>
                <a:cxn ang="0">
                  <a:pos x="23" y="50"/>
                </a:cxn>
                <a:cxn ang="0">
                  <a:pos x="25" y="48"/>
                </a:cxn>
                <a:cxn ang="0">
                  <a:pos x="30" y="46"/>
                </a:cxn>
                <a:cxn ang="0">
                  <a:pos x="34" y="44"/>
                </a:cxn>
                <a:cxn ang="0">
                  <a:pos x="47" y="50"/>
                </a:cxn>
                <a:cxn ang="0">
                  <a:pos x="52" y="46"/>
                </a:cxn>
                <a:cxn ang="0">
                  <a:pos x="51" y="44"/>
                </a:cxn>
                <a:cxn ang="0">
                  <a:pos x="44" y="46"/>
                </a:cxn>
                <a:cxn ang="0">
                  <a:pos x="34" y="41"/>
                </a:cxn>
                <a:cxn ang="0">
                  <a:pos x="30" y="41"/>
                </a:cxn>
                <a:cxn ang="0">
                  <a:pos x="27" y="44"/>
                </a:cxn>
                <a:cxn ang="0">
                  <a:pos x="13" y="44"/>
                </a:cxn>
                <a:cxn ang="0">
                  <a:pos x="3" y="27"/>
                </a:cxn>
                <a:cxn ang="0">
                  <a:pos x="1" y="29"/>
                </a:cxn>
                <a:cxn ang="0">
                  <a:pos x="0" y="27"/>
                </a:cxn>
                <a:cxn ang="0">
                  <a:pos x="5" y="26"/>
                </a:cxn>
                <a:cxn ang="0">
                  <a:pos x="8" y="22"/>
                </a:cxn>
                <a:cxn ang="0">
                  <a:pos x="13" y="14"/>
                </a:cxn>
                <a:cxn ang="0">
                  <a:pos x="13" y="9"/>
                </a:cxn>
                <a:cxn ang="0">
                  <a:pos x="17" y="2"/>
                </a:cxn>
                <a:cxn ang="0">
                  <a:pos x="25" y="4"/>
                </a:cxn>
                <a:cxn ang="0">
                  <a:pos x="34" y="0"/>
                </a:cxn>
                <a:cxn ang="0">
                  <a:pos x="44" y="0"/>
                </a:cxn>
                <a:cxn ang="0">
                  <a:pos x="51" y="7"/>
                </a:cxn>
                <a:cxn ang="0">
                  <a:pos x="56" y="7"/>
                </a:cxn>
                <a:cxn ang="0">
                  <a:pos x="59" y="15"/>
                </a:cxn>
                <a:cxn ang="0">
                  <a:pos x="63" y="17"/>
                </a:cxn>
                <a:cxn ang="0">
                  <a:pos x="66" y="19"/>
                </a:cxn>
                <a:cxn ang="0">
                  <a:pos x="64" y="21"/>
                </a:cxn>
                <a:cxn ang="0">
                  <a:pos x="75" y="27"/>
                </a:cxn>
                <a:cxn ang="0">
                  <a:pos x="75" y="33"/>
                </a:cxn>
                <a:cxn ang="0">
                  <a:pos x="76" y="34"/>
                </a:cxn>
                <a:cxn ang="0">
                  <a:pos x="78" y="39"/>
                </a:cxn>
                <a:cxn ang="0">
                  <a:pos x="76" y="43"/>
                </a:cxn>
                <a:cxn ang="0">
                  <a:pos x="78" y="46"/>
                </a:cxn>
                <a:cxn ang="0">
                  <a:pos x="83" y="46"/>
                </a:cxn>
                <a:cxn ang="0">
                  <a:pos x="87" y="53"/>
                </a:cxn>
                <a:cxn ang="0">
                  <a:pos x="87" y="60"/>
                </a:cxn>
                <a:cxn ang="0">
                  <a:pos x="71" y="62"/>
                </a:cxn>
                <a:cxn ang="0">
                  <a:pos x="64" y="58"/>
                </a:cxn>
                <a:cxn ang="0">
                  <a:pos x="63" y="60"/>
                </a:cxn>
                <a:cxn ang="0">
                  <a:pos x="61" y="58"/>
                </a:cxn>
                <a:cxn ang="0">
                  <a:pos x="52" y="56"/>
                </a:cxn>
                <a:cxn ang="0">
                  <a:pos x="34" y="56"/>
                </a:cxn>
                <a:cxn ang="0">
                  <a:pos x="25" y="60"/>
                </a:cxn>
                <a:cxn ang="0">
                  <a:pos x="18" y="60"/>
                </a:cxn>
                <a:cxn ang="0">
                  <a:pos x="15" y="62"/>
                </a:cxn>
                <a:cxn ang="0">
                  <a:pos x="12" y="60"/>
                </a:cxn>
              </a:cxnLst>
              <a:rect l="0" t="0" r="r" b="b"/>
              <a:pathLst>
                <a:path w="88" h="63">
                  <a:moveTo>
                    <a:pt x="12" y="60"/>
                  </a:moveTo>
                  <a:lnTo>
                    <a:pt x="10" y="51"/>
                  </a:lnTo>
                  <a:lnTo>
                    <a:pt x="12" y="50"/>
                  </a:lnTo>
                  <a:lnTo>
                    <a:pt x="23" y="50"/>
                  </a:lnTo>
                  <a:lnTo>
                    <a:pt x="25" y="48"/>
                  </a:lnTo>
                  <a:lnTo>
                    <a:pt x="30" y="46"/>
                  </a:lnTo>
                  <a:lnTo>
                    <a:pt x="34" y="44"/>
                  </a:lnTo>
                  <a:lnTo>
                    <a:pt x="47" y="50"/>
                  </a:lnTo>
                  <a:lnTo>
                    <a:pt x="52" y="46"/>
                  </a:lnTo>
                  <a:lnTo>
                    <a:pt x="51" y="44"/>
                  </a:lnTo>
                  <a:lnTo>
                    <a:pt x="44" y="46"/>
                  </a:lnTo>
                  <a:lnTo>
                    <a:pt x="34" y="41"/>
                  </a:lnTo>
                  <a:lnTo>
                    <a:pt x="30" y="41"/>
                  </a:lnTo>
                  <a:lnTo>
                    <a:pt x="27" y="44"/>
                  </a:lnTo>
                  <a:lnTo>
                    <a:pt x="13" y="44"/>
                  </a:lnTo>
                  <a:lnTo>
                    <a:pt x="3" y="27"/>
                  </a:lnTo>
                  <a:lnTo>
                    <a:pt x="1" y="29"/>
                  </a:lnTo>
                  <a:lnTo>
                    <a:pt x="0" y="27"/>
                  </a:lnTo>
                  <a:lnTo>
                    <a:pt x="5" y="26"/>
                  </a:lnTo>
                  <a:lnTo>
                    <a:pt x="8" y="22"/>
                  </a:lnTo>
                  <a:lnTo>
                    <a:pt x="13" y="14"/>
                  </a:lnTo>
                  <a:lnTo>
                    <a:pt x="13" y="9"/>
                  </a:lnTo>
                  <a:lnTo>
                    <a:pt x="17" y="2"/>
                  </a:lnTo>
                  <a:lnTo>
                    <a:pt x="25" y="4"/>
                  </a:lnTo>
                  <a:lnTo>
                    <a:pt x="34" y="0"/>
                  </a:lnTo>
                  <a:lnTo>
                    <a:pt x="44" y="0"/>
                  </a:lnTo>
                  <a:lnTo>
                    <a:pt x="51" y="7"/>
                  </a:lnTo>
                  <a:lnTo>
                    <a:pt x="56" y="7"/>
                  </a:lnTo>
                  <a:lnTo>
                    <a:pt x="59" y="15"/>
                  </a:lnTo>
                  <a:lnTo>
                    <a:pt x="63" y="17"/>
                  </a:lnTo>
                  <a:lnTo>
                    <a:pt x="66" y="19"/>
                  </a:lnTo>
                  <a:lnTo>
                    <a:pt x="64" y="21"/>
                  </a:lnTo>
                  <a:lnTo>
                    <a:pt x="75" y="27"/>
                  </a:lnTo>
                  <a:lnTo>
                    <a:pt x="75" y="33"/>
                  </a:lnTo>
                  <a:lnTo>
                    <a:pt x="76" y="34"/>
                  </a:lnTo>
                  <a:lnTo>
                    <a:pt x="78" y="39"/>
                  </a:lnTo>
                  <a:lnTo>
                    <a:pt x="76" y="43"/>
                  </a:lnTo>
                  <a:lnTo>
                    <a:pt x="78" y="46"/>
                  </a:lnTo>
                  <a:lnTo>
                    <a:pt x="83" y="46"/>
                  </a:lnTo>
                  <a:lnTo>
                    <a:pt x="87" y="53"/>
                  </a:lnTo>
                  <a:lnTo>
                    <a:pt x="87" y="60"/>
                  </a:lnTo>
                  <a:lnTo>
                    <a:pt x="71" y="62"/>
                  </a:lnTo>
                  <a:lnTo>
                    <a:pt x="64" y="58"/>
                  </a:lnTo>
                  <a:lnTo>
                    <a:pt x="63" y="60"/>
                  </a:lnTo>
                  <a:lnTo>
                    <a:pt x="61" y="58"/>
                  </a:lnTo>
                  <a:lnTo>
                    <a:pt x="52" y="56"/>
                  </a:lnTo>
                  <a:lnTo>
                    <a:pt x="34" y="56"/>
                  </a:lnTo>
                  <a:lnTo>
                    <a:pt x="25" y="60"/>
                  </a:lnTo>
                  <a:lnTo>
                    <a:pt x="18" y="60"/>
                  </a:lnTo>
                  <a:lnTo>
                    <a:pt x="15" y="62"/>
                  </a:lnTo>
                  <a:lnTo>
                    <a:pt x="12" y="6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1" name="Freeform 177">
              <a:extLst>
                <a:ext uri="{FF2B5EF4-FFF2-40B4-BE49-F238E27FC236}">
                  <a16:creationId xmlns:a16="http://schemas.microsoft.com/office/drawing/2014/main" id="{0A5B9BF0-FA3A-BE44-B4F7-E65A69A9D7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8964" y="2426300"/>
              <a:ext cx="115693" cy="102892"/>
            </a:xfrm>
            <a:custGeom>
              <a:avLst/>
              <a:gdLst/>
              <a:ahLst/>
              <a:cxnLst>
                <a:cxn ang="0">
                  <a:pos x="191" y="201"/>
                </a:cxn>
                <a:cxn ang="0">
                  <a:pos x="164" y="188"/>
                </a:cxn>
                <a:cxn ang="0">
                  <a:pos x="135" y="174"/>
                </a:cxn>
                <a:cxn ang="0">
                  <a:pos x="108" y="159"/>
                </a:cxn>
                <a:cxn ang="0">
                  <a:pos x="80" y="157"/>
                </a:cxn>
                <a:cxn ang="0">
                  <a:pos x="73" y="155"/>
                </a:cxn>
                <a:cxn ang="0">
                  <a:pos x="34" y="150"/>
                </a:cxn>
                <a:cxn ang="0">
                  <a:pos x="21" y="135"/>
                </a:cxn>
                <a:cxn ang="0">
                  <a:pos x="10" y="130"/>
                </a:cxn>
                <a:cxn ang="0">
                  <a:pos x="2" y="109"/>
                </a:cxn>
                <a:cxn ang="0">
                  <a:pos x="7" y="106"/>
                </a:cxn>
                <a:cxn ang="0">
                  <a:pos x="5" y="62"/>
                </a:cxn>
                <a:cxn ang="0">
                  <a:pos x="0" y="48"/>
                </a:cxn>
                <a:cxn ang="0">
                  <a:pos x="9" y="43"/>
                </a:cxn>
                <a:cxn ang="0">
                  <a:pos x="10" y="29"/>
                </a:cxn>
                <a:cxn ang="0">
                  <a:pos x="29" y="12"/>
                </a:cxn>
                <a:cxn ang="0">
                  <a:pos x="29" y="0"/>
                </a:cxn>
                <a:cxn ang="0">
                  <a:pos x="53" y="4"/>
                </a:cxn>
                <a:cxn ang="0">
                  <a:pos x="80" y="14"/>
                </a:cxn>
                <a:cxn ang="0">
                  <a:pos x="84" y="21"/>
                </a:cxn>
                <a:cxn ang="0">
                  <a:pos x="92" y="31"/>
                </a:cxn>
                <a:cxn ang="0">
                  <a:pos x="123" y="39"/>
                </a:cxn>
                <a:cxn ang="0">
                  <a:pos x="133" y="46"/>
                </a:cxn>
                <a:cxn ang="0">
                  <a:pos x="145" y="39"/>
                </a:cxn>
                <a:cxn ang="0">
                  <a:pos x="147" y="24"/>
                </a:cxn>
                <a:cxn ang="0">
                  <a:pos x="160" y="5"/>
                </a:cxn>
                <a:cxn ang="0">
                  <a:pos x="186" y="7"/>
                </a:cxn>
                <a:cxn ang="0">
                  <a:pos x="189" y="14"/>
                </a:cxn>
                <a:cxn ang="0">
                  <a:pos x="200" y="17"/>
                </a:cxn>
                <a:cxn ang="0">
                  <a:pos x="218" y="24"/>
                </a:cxn>
                <a:cxn ang="0">
                  <a:pos x="213" y="29"/>
                </a:cxn>
                <a:cxn ang="0">
                  <a:pos x="212" y="50"/>
                </a:cxn>
                <a:cxn ang="0">
                  <a:pos x="215" y="58"/>
                </a:cxn>
                <a:cxn ang="0">
                  <a:pos x="218" y="65"/>
                </a:cxn>
                <a:cxn ang="0">
                  <a:pos x="218" y="92"/>
                </a:cxn>
                <a:cxn ang="0">
                  <a:pos x="218" y="120"/>
                </a:cxn>
                <a:cxn ang="0">
                  <a:pos x="218" y="147"/>
                </a:cxn>
                <a:cxn ang="0">
                  <a:pos x="218" y="172"/>
                </a:cxn>
                <a:cxn ang="0">
                  <a:pos x="218" y="201"/>
                </a:cxn>
                <a:cxn ang="0">
                  <a:pos x="205" y="210"/>
                </a:cxn>
              </a:cxnLst>
              <a:rect l="0" t="0" r="r" b="b"/>
              <a:pathLst>
                <a:path w="219" h="211">
                  <a:moveTo>
                    <a:pt x="205" y="210"/>
                  </a:moveTo>
                  <a:lnTo>
                    <a:pt x="191" y="201"/>
                  </a:lnTo>
                  <a:lnTo>
                    <a:pt x="178" y="195"/>
                  </a:lnTo>
                  <a:lnTo>
                    <a:pt x="164" y="188"/>
                  </a:lnTo>
                  <a:lnTo>
                    <a:pt x="150" y="181"/>
                  </a:lnTo>
                  <a:lnTo>
                    <a:pt x="135" y="174"/>
                  </a:lnTo>
                  <a:lnTo>
                    <a:pt x="123" y="167"/>
                  </a:lnTo>
                  <a:lnTo>
                    <a:pt x="108" y="159"/>
                  </a:lnTo>
                  <a:lnTo>
                    <a:pt x="94" y="152"/>
                  </a:lnTo>
                  <a:lnTo>
                    <a:pt x="80" y="157"/>
                  </a:lnTo>
                  <a:lnTo>
                    <a:pt x="75" y="159"/>
                  </a:lnTo>
                  <a:lnTo>
                    <a:pt x="73" y="155"/>
                  </a:lnTo>
                  <a:lnTo>
                    <a:pt x="65" y="150"/>
                  </a:lnTo>
                  <a:lnTo>
                    <a:pt x="34" y="150"/>
                  </a:lnTo>
                  <a:lnTo>
                    <a:pt x="29" y="138"/>
                  </a:lnTo>
                  <a:lnTo>
                    <a:pt x="21" y="135"/>
                  </a:lnTo>
                  <a:lnTo>
                    <a:pt x="14" y="135"/>
                  </a:lnTo>
                  <a:lnTo>
                    <a:pt x="10" y="130"/>
                  </a:lnTo>
                  <a:lnTo>
                    <a:pt x="9" y="123"/>
                  </a:lnTo>
                  <a:lnTo>
                    <a:pt x="2" y="109"/>
                  </a:lnTo>
                  <a:lnTo>
                    <a:pt x="2" y="108"/>
                  </a:lnTo>
                  <a:lnTo>
                    <a:pt x="7" y="106"/>
                  </a:lnTo>
                  <a:lnTo>
                    <a:pt x="7" y="85"/>
                  </a:lnTo>
                  <a:lnTo>
                    <a:pt x="5" y="62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2" y="46"/>
                  </a:lnTo>
                  <a:lnTo>
                    <a:pt x="9" y="43"/>
                  </a:lnTo>
                  <a:lnTo>
                    <a:pt x="12" y="38"/>
                  </a:lnTo>
                  <a:lnTo>
                    <a:pt x="10" y="29"/>
                  </a:lnTo>
                  <a:lnTo>
                    <a:pt x="12" y="24"/>
                  </a:lnTo>
                  <a:lnTo>
                    <a:pt x="29" y="12"/>
                  </a:lnTo>
                  <a:lnTo>
                    <a:pt x="29" y="10"/>
                  </a:lnTo>
                  <a:lnTo>
                    <a:pt x="29" y="0"/>
                  </a:lnTo>
                  <a:lnTo>
                    <a:pt x="43" y="5"/>
                  </a:lnTo>
                  <a:lnTo>
                    <a:pt x="53" y="4"/>
                  </a:lnTo>
                  <a:lnTo>
                    <a:pt x="62" y="5"/>
                  </a:lnTo>
                  <a:lnTo>
                    <a:pt x="80" y="14"/>
                  </a:lnTo>
                  <a:lnTo>
                    <a:pt x="82" y="16"/>
                  </a:lnTo>
                  <a:lnTo>
                    <a:pt x="84" y="21"/>
                  </a:lnTo>
                  <a:lnTo>
                    <a:pt x="89" y="29"/>
                  </a:lnTo>
                  <a:lnTo>
                    <a:pt x="92" y="31"/>
                  </a:lnTo>
                  <a:lnTo>
                    <a:pt x="114" y="36"/>
                  </a:lnTo>
                  <a:lnTo>
                    <a:pt x="123" y="39"/>
                  </a:lnTo>
                  <a:lnTo>
                    <a:pt x="128" y="45"/>
                  </a:lnTo>
                  <a:lnTo>
                    <a:pt x="133" y="46"/>
                  </a:lnTo>
                  <a:lnTo>
                    <a:pt x="140" y="45"/>
                  </a:lnTo>
                  <a:lnTo>
                    <a:pt x="145" y="39"/>
                  </a:lnTo>
                  <a:lnTo>
                    <a:pt x="149" y="33"/>
                  </a:lnTo>
                  <a:lnTo>
                    <a:pt x="147" y="24"/>
                  </a:lnTo>
                  <a:lnTo>
                    <a:pt x="147" y="17"/>
                  </a:lnTo>
                  <a:lnTo>
                    <a:pt x="160" y="5"/>
                  </a:lnTo>
                  <a:lnTo>
                    <a:pt x="176" y="4"/>
                  </a:lnTo>
                  <a:lnTo>
                    <a:pt x="186" y="7"/>
                  </a:lnTo>
                  <a:lnTo>
                    <a:pt x="189" y="9"/>
                  </a:lnTo>
                  <a:lnTo>
                    <a:pt x="189" y="14"/>
                  </a:lnTo>
                  <a:lnTo>
                    <a:pt x="191" y="16"/>
                  </a:lnTo>
                  <a:lnTo>
                    <a:pt x="200" y="17"/>
                  </a:lnTo>
                  <a:lnTo>
                    <a:pt x="215" y="21"/>
                  </a:lnTo>
                  <a:lnTo>
                    <a:pt x="218" y="24"/>
                  </a:lnTo>
                  <a:lnTo>
                    <a:pt x="217" y="24"/>
                  </a:lnTo>
                  <a:lnTo>
                    <a:pt x="213" y="29"/>
                  </a:lnTo>
                  <a:lnTo>
                    <a:pt x="215" y="45"/>
                  </a:lnTo>
                  <a:lnTo>
                    <a:pt x="212" y="50"/>
                  </a:lnTo>
                  <a:lnTo>
                    <a:pt x="212" y="55"/>
                  </a:lnTo>
                  <a:lnTo>
                    <a:pt x="215" y="58"/>
                  </a:lnTo>
                  <a:lnTo>
                    <a:pt x="213" y="62"/>
                  </a:lnTo>
                  <a:lnTo>
                    <a:pt x="218" y="65"/>
                  </a:lnTo>
                  <a:lnTo>
                    <a:pt x="218" y="79"/>
                  </a:lnTo>
                  <a:lnTo>
                    <a:pt x="218" y="92"/>
                  </a:lnTo>
                  <a:lnTo>
                    <a:pt x="218" y="106"/>
                  </a:lnTo>
                  <a:lnTo>
                    <a:pt x="218" y="120"/>
                  </a:lnTo>
                  <a:lnTo>
                    <a:pt x="218" y="133"/>
                  </a:lnTo>
                  <a:lnTo>
                    <a:pt x="218" y="147"/>
                  </a:lnTo>
                  <a:lnTo>
                    <a:pt x="218" y="160"/>
                  </a:lnTo>
                  <a:lnTo>
                    <a:pt x="218" y="172"/>
                  </a:lnTo>
                  <a:lnTo>
                    <a:pt x="218" y="186"/>
                  </a:lnTo>
                  <a:lnTo>
                    <a:pt x="218" y="201"/>
                  </a:lnTo>
                  <a:lnTo>
                    <a:pt x="205" y="201"/>
                  </a:lnTo>
                  <a:lnTo>
                    <a:pt x="205" y="21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2" name="Freeform 178">
              <a:extLst>
                <a:ext uri="{FF2B5EF4-FFF2-40B4-BE49-F238E27FC236}">
                  <a16:creationId xmlns:a16="http://schemas.microsoft.com/office/drawing/2014/main" id="{DA3851C5-29F9-CB45-B981-41FD6525F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604" y="2500421"/>
              <a:ext cx="78185" cy="111182"/>
            </a:xfrm>
            <a:custGeom>
              <a:avLst/>
              <a:gdLst/>
              <a:ahLst/>
              <a:cxnLst>
                <a:cxn ang="0">
                  <a:pos x="147" y="70"/>
                </a:cxn>
                <a:cxn ang="0">
                  <a:pos x="147" y="97"/>
                </a:cxn>
                <a:cxn ang="0">
                  <a:pos x="131" y="112"/>
                </a:cxn>
                <a:cxn ang="0">
                  <a:pos x="123" y="128"/>
                </a:cxn>
                <a:cxn ang="0">
                  <a:pos x="120" y="138"/>
                </a:cxn>
                <a:cxn ang="0">
                  <a:pos x="118" y="150"/>
                </a:cxn>
                <a:cxn ang="0">
                  <a:pos x="123" y="152"/>
                </a:cxn>
                <a:cxn ang="0">
                  <a:pos x="131" y="174"/>
                </a:cxn>
                <a:cxn ang="0">
                  <a:pos x="128" y="177"/>
                </a:cxn>
                <a:cxn ang="0">
                  <a:pos x="114" y="184"/>
                </a:cxn>
                <a:cxn ang="0">
                  <a:pos x="106" y="196"/>
                </a:cxn>
                <a:cxn ang="0">
                  <a:pos x="99" y="201"/>
                </a:cxn>
                <a:cxn ang="0">
                  <a:pos x="77" y="206"/>
                </a:cxn>
                <a:cxn ang="0">
                  <a:pos x="79" y="211"/>
                </a:cxn>
                <a:cxn ang="0">
                  <a:pos x="60" y="220"/>
                </a:cxn>
                <a:cxn ang="0">
                  <a:pos x="43" y="222"/>
                </a:cxn>
                <a:cxn ang="0">
                  <a:pos x="36" y="227"/>
                </a:cxn>
                <a:cxn ang="0">
                  <a:pos x="22" y="210"/>
                </a:cxn>
                <a:cxn ang="0">
                  <a:pos x="12" y="205"/>
                </a:cxn>
                <a:cxn ang="0">
                  <a:pos x="9" y="194"/>
                </a:cxn>
                <a:cxn ang="0">
                  <a:pos x="24" y="193"/>
                </a:cxn>
                <a:cxn ang="0">
                  <a:pos x="26" y="187"/>
                </a:cxn>
                <a:cxn ang="0">
                  <a:pos x="21" y="165"/>
                </a:cxn>
                <a:cxn ang="0">
                  <a:pos x="14" y="150"/>
                </a:cxn>
                <a:cxn ang="0">
                  <a:pos x="9" y="148"/>
                </a:cxn>
                <a:cxn ang="0">
                  <a:pos x="0" y="131"/>
                </a:cxn>
                <a:cxn ang="0">
                  <a:pos x="2" y="126"/>
                </a:cxn>
                <a:cxn ang="0">
                  <a:pos x="27" y="94"/>
                </a:cxn>
                <a:cxn ang="0">
                  <a:pos x="33" y="49"/>
                </a:cxn>
                <a:cxn ang="0">
                  <a:pos x="27" y="37"/>
                </a:cxn>
                <a:cxn ang="0">
                  <a:pos x="22" y="5"/>
                </a:cxn>
                <a:cxn ang="0">
                  <a:pos x="50" y="7"/>
                </a:cxn>
                <a:cxn ang="0">
                  <a:pos x="77" y="22"/>
                </a:cxn>
                <a:cxn ang="0">
                  <a:pos x="106" y="36"/>
                </a:cxn>
                <a:cxn ang="0">
                  <a:pos x="133" y="49"/>
                </a:cxn>
              </a:cxnLst>
              <a:rect l="0" t="0" r="r" b="b"/>
              <a:pathLst>
                <a:path w="148" h="228">
                  <a:moveTo>
                    <a:pt x="147" y="58"/>
                  </a:moveTo>
                  <a:lnTo>
                    <a:pt x="147" y="70"/>
                  </a:lnTo>
                  <a:lnTo>
                    <a:pt x="147" y="83"/>
                  </a:lnTo>
                  <a:lnTo>
                    <a:pt x="147" y="97"/>
                  </a:lnTo>
                  <a:lnTo>
                    <a:pt x="147" y="111"/>
                  </a:lnTo>
                  <a:lnTo>
                    <a:pt x="131" y="112"/>
                  </a:lnTo>
                  <a:lnTo>
                    <a:pt x="130" y="119"/>
                  </a:lnTo>
                  <a:lnTo>
                    <a:pt x="123" y="128"/>
                  </a:lnTo>
                  <a:lnTo>
                    <a:pt x="123" y="135"/>
                  </a:lnTo>
                  <a:lnTo>
                    <a:pt x="120" y="138"/>
                  </a:lnTo>
                  <a:lnTo>
                    <a:pt x="120" y="143"/>
                  </a:lnTo>
                  <a:lnTo>
                    <a:pt x="118" y="150"/>
                  </a:lnTo>
                  <a:lnTo>
                    <a:pt x="116" y="153"/>
                  </a:lnTo>
                  <a:lnTo>
                    <a:pt x="123" y="152"/>
                  </a:lnTo>
                  <a:lnTo>
                    <a:pt x="125" y="160"/>
                  </a:lnTo>
                  <a:lnTo>
                    <a:pt x="131" y="174"/>
                  </a:lnTo>
                  <a:lnTo>
                    <a:pt x="131" y="176"/>
                  </a:lnTo>
                  <a:lnTo>
                    <a:pt x="128" y="177"/>
                  </a:lnTo>
                  <a:lnTo>
                    <a:pt x="118" y="179"/>
                  </a:lnTo>
                  <a:lnTo>
                    <a:pt x="114" y="184"/>
                  </a:lnTo>
                  <a:lnTo>
                    <a:pt x="114" y="187"/>
                  </a:lnTo>
                  <a:lnTo>
                    <a:pt x="106" y="196"/>
                  </a:lnTo>
                  <a:lnTo>
                    <a:pt x="104" y="199"/>
                  </a:lnTo>
                  <a:lnTo>
                    <a:pt x="99" y="201"/>
                  </a:lnTo>
                  <a:lnTo>
                    <a:pt x="97" y="203"/>
                  </a:lnTo>
                  <a:lnTo>
                    <a:pt x="77" y="206"/>
                  </a:lnTo>
                  <a:lnTo>
                    <a:pt x="77" y="208"/>
                  </a:lnTo>
                  <a:lnTo>
                    <a:pt x="79" y="211"/>
                  </a:lnTo>
                  <a:lnTo>
                    <a:pt x="72" y="218"/>
                  </a:lnTo>
                  <a:lnTo>
                    <a:pt x="60" y="220"/>
                  </a:lnTo>
                  <a:lnTo>
                    <a:pt x="48" y="225"/>
                  </a:lnTo>
                  <a:lnTo>
                    <a:pt x="43" y="222"/>
                  </a:lnTo>
                  <a:lnTo>
                    <a:pt x="41" y="223"/>
                  </a:lnTo>
                  <a:lnTo>
                    <a:pt x="36" y="227"/>
                  </a:lnTo>
                  <a:lnTo>
                    <a:pt x="27" y="227"/>
                  </a:lnTo>
                  <a:lnTo>
                    <a:pt x="22" y="210"/>
                  </a:lnTo>
                  <a:lnTo>
                    <a:pt x="19" y="208"/>
                  </a:lnTo>
                  <a:lnTo>
                    <a:pt x="12" y="205"/>
                  </a:lnTo>
                  <a:lnTo>
                    <a:pt x="9" y="198"/>
                  </a:lnTo>
                  <a:lnTo>
                    <a:pt x="9" y="194"/>
                  </a:lnTo>
                  <a:lnTo>
                    <a:pt x="12" y="191"/>
                  </a:lnTo>
                  <a:lnTo>
                    <a:pt x="24" y="193"/>
                  </a:lnTo>
                  <a:lnTo>
                    <a:pt x="26" y="191"/>
                  </a:lnTo>
                  <a:lnTo>
                    <a:pt x="26" y="187"/>
                  </a:lnTo>
                  <a:lnTo>
                    <a:pt x="19" y="177"/>
                  </a:lnTo>
                  <a:lnTo>
                    <a:pt x="21" y="165"/>
                  </a:lnTo>
                  <a:lnTo>
                    <a:pt x="15" y="152"/>
                  </a:lnTo>
                  <a:lnTo>
                    <a:pt x="14" y="150"/>
                  </a:lnTo>
                  <a:lnTo>
                    <a:pt x="12" y="148"/>
                  </a:lnTo>
                  <a:lnTo>
                    <a:pt x="9" y="148"/>
                  </a:lnTo>
                  <a:lnTo>
                    <a:pt x="2" y="138"/>
                  </a:lnTo>
                  <a:lnTo>
                    <a:pt x="0" y="131"/>
                  </a:lnTo>
                  <a:lnTo>
                    <a:pt x="0" y="128"/>
                  </a:lnTo>
                  <a:lnTo>
                    <a:pt x="2" y="126"/>
                  </a:lnTo>
                  <a:lnTo>
                    <a:pt x="4" y="119"/>
                  </a:lnTo>
                  <a:lnTo>
                    <a:pt x="27" y="94"/>
                  </a:lnTo>
                  <a:lnTo>
                    <a:pt x="29" y="70"/>
                  </a:lnTo>
                  <a:lnTo>
                    <a:pt x="33" y="49"/>
                  </a:lnTo>
                  <a:lnTo>
                    <a:pt x="36" y="44"/>
                  </a:lnTo>
                  <a:lnTo>
                    <a:pt x="27" y="37"/>
                  </a:lnTo>
                  <a:lnTo>
                    <a:pt x="22" y="29"/>
                  </a:lnTo>
                  <a:lnTo>
                    <a:pt x="22" y="5"/>
                  </a:lnTo>
                  <a:lnTo>
                    <a:pt x="36" y="0"/>
                  </a:lnTo>
                  <a:lnTo>
                    <a:pt x="50" y="7"/>
                  </a:lnTo>
                  <a:lnTo>
                    <a:pt x="65" y="15"/>
                  </a:lnTo>
                  <a:lnTo>
                    <a:pt x="77" y="22"/>
                  </a:lnTo>
                  <a:lnTo>
                    <a:pt x="92" y="29"/>
                  </a:lnTo>
                  <a:lnTo>
                    <a:pt x="106" y="36"/>
                  </a:lnTo>
                  <a:lnTo>
                    <a:pt x="120" y="43"/>
                  </a:lnTo>
                  <a:lnTo>
                    <a:pt x="133" y="49"/>
                  </a:lnTo>
                  <a:lnTo>
                    <a:pt x="147" y="58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3" name="Freeform 179">
              <a:extLst>
                <a:ext uri="{FF2B5EF4-FFF2-40B4-BE49-F238E27FC236}">
                  <a16:creationId xmlns:a16="http://schemas.microsoft.com/office/drawing/2014/main" id="{DBFBFF91-AAF6-9C4A-A283-4B3692DA9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7839" y="2403868"/>
              <a:ext cx="87694" cy="64368"/>
            </a:xfrm>
            <a:custGeom>
              <a:avLst/>
              <a:gdLst/>
              <a:ahLst/>
              <a:cxnLst>
                <a:cxn ang="0">
                  <a:pos x="59" y="131"/>
                </a:cxn>
                <a:cxn ang="0">
                  <a:pos x="46" y="131"/>
                </a:cxn>
                <a:cxn ang="0">
                  <a:pos x="30" y="131"/>
                </a:cxn>
                <a:cxn ang="0">
                  <a:pos x="15" y="131"/>
                </a:cxn>
                <a:cxn ang="0">
                  <a:pos x="0" y="131"/>
                </a:cxn>
                <a:cxn ang="0">
                  <a:pos x="1" y="130"/>
                </a:cxn>
                <a:cxn ang="0">
                  <a:pos x="18" y="125"/>
                </a:cxn>
                <a:cxn ang="0">
                  <a:pos x="25" y="119"/>
                </a:cxn>
                <a:cxn ang="0">
                  <a:pos x="37" y="109"/>
                </a:cxn>
                <a:cxn ang="0">
                  <a:pos x="42" y="102"/>
                </a:cxn>
                <a:cxn ang="0">
                  <a:pos x="46" y="96"/>
                </a:cxn>
                <a:cxn ang="0">
                  <a:pos x="46" y="91"/>
                </a:cxn>
                <a:cxn ang="0">
                  <a:pos x="44" y="85"/>
                </a:cxn>
                <a:cxn ang="0">
                  <a:pos x="44" y="75"/>
                </a:cxn>
                <a:cxn ang="0">
                  <a:pos x="49" y="67"/>
                </a:cxn>
                <a:cxn ang="0">
                  <a:pos x="53" y="65"/>
                </a:cxn>
                <a:cxn ang="0">
                  <a:pos x="53" y="56"/>
                </a:cxn>
                <a:cxn ang="0">
                  <a:pos x="63" y="44"/>
                </a:cxn>
                <a:cxn ang="0">
                  <a:pos x="78" y="38"/>
                </a:cxn>
                <a:cxn ang="0">
                  <a:pos x="87" y="31"/>
                </a:cxn>
                <a:cxn ang="0">
                  <a:pos x="92" y="22"/>
                </a:cxn>
                <a:cxn ang="0">
                  <a:pos x="99" y="4"/>
                </a:cxn>
                <a:cxn ang="0">
                  <a:pos x="105" y="0"/>
                </a:cxn>
                <a:cxn ang="0">
                  <a:pos x="111" y="9"/>
                </a:cxn>
                <a:cxn ang="0">
                  <a:pos x="119" y="12"/>
                </a:cxn>
                <a:cxn ang="0">
                  <a:pos x="138" y="10"/>
                </a:cxn>
                <a:cxn ang="0">
                  <a:pos x="145" y="14"/>
                </a:cxn>
                <a:cxn ang="0">
                  <a:pos x="146" y="14"/>
                </a:cxn>
                <a:cxn ang="0">
                  <a:pos x="152" y="14"/>
                </a:cxn>
                <a:cxn ang="0">
                  <a:pos x="150" y="15"/>
                </a:cxn>
                <a:cxn ang="0">
                  <a:pos x="150" y="17"/>
                </a:cxn>
                <a:cxn ang="0">
                  <a:pos x="155" y="19"/>
                </a:cxn>
                <a:cxn ang="0">
                  <a:pos x="153" y="21"/>
                </a:cxn>
                <a:cxn ang="0">
                  <a:pos x="155" y="22"/>
                </a:cxn>
                <a:cxn ang="0">
                  <a:pos x="155" y="24"/>
                </a:cxn>
                <a:cxn ang="0">
                  <a:pos x="155" y="29"/>
                </a:cxn>
                <a:cxn ang="0">
                  <a:pos x="155" y="34"/>
                </a:cxn>
                <a:cxn ang="0">
                  <a:pos x="157" y="38"/>
                </a:cxn>
                <a:cxn ang="0">
                  <a:pos x="157" y="43"/>
                </a:cxn>
                <a:cxn ang="0">
                  <a:pos x="158" y="48"/>
                </a:cxn>
                <a:cxn ang="0">
                  <a:pos x="160" y="51"/>
                </a:cxn>
                <a:cxn ang="0">
                  <a:pos x="165" y="55"/>
                </a:cxn>
                <a:cxn ang="0">
                  <a:pos x="162" y="58"/>
                </a:cxn>
                <a:cxn ang="0">
                  <a:pos x="163" y="62"/>
                </a:cxn>
                <a:cxn ang="0">
                  <a:pos x="140" y="62"/>
                </a:cxn>
                <a:cxn ang="0">
                  <a:pos x="138" y="67"/>
                </a:cxn>
                <a:cxn ang="0">
                  <a:pos x="126" y="70"/>
                </a:cxn>
                <a:cxn ang="0">
                  <a:pos x="126" y="72"/>
                </a:cxn>
                <a:cxn ang="0">
                  <a:pos x="128" y="73"/>
                </a:cxn>
                <a:cxn ang="0">
                  <a:pos x="126" y="77"/>
                </a:cxn>
                <a:cxn ang="0">
                  <a:pos x="129" y="79"/>
                </a:cxn>
                <a:cxn ang="0">
                  <a:pos x="129" y="80"/>
                </a:cxn>
                <a:cxn ang="0">
                  <a:pos x="112" y="87"/>
                </a:cxn>
                <a:cxn ang="0">
                  <a:pos x="107" y="94"/>
                </a:cxn>
                <a:cxn ang="0">
                  <a:pos x="102" y="97"/>
                </a:cxn>
                <a:cxn ang="0">
                  <a:pos x="88" y="99"/>
                </a:cxn>
                <a:cxn ang="0">
                  <a:pos x="88" y="102"/>
                </a:cxn>
                <a:cxn ang="0">
                  <a:pos x="82" y="101"/>
                </a:cxn>
                <a:cxn ang="0">
                  <a:pos x="75" y="106"/>
                </a:cxn>
                <a:cxn ang="0">
                  <a:pos x="71" y="106"/>
                </a:cxn>
                <a:cxn ang="0">
                  <a:pos x="66" y="109"/>
                </a:cxn>
                <a:cxn ang="0">
                  <a:pos x="59" y="114"/>
                </a:cxn>
                <a:cxn ang="0">
                  <a:pos x="59" y="131"/>
                </a:cxn>
              </a:cxnLst>
              <a:rect l="0" t="0" r="r" b="b"/>
              <a:pathLst>
                <a:path w="166" h="132">
                  <a:moveTo>
                    <a:pt x="59" y="131"/>
                  </a:moveTo>
                  <a:lnTo>
                    <a:pt x="46" y="131"/>
                  </a:lnTo>
                  <a:lnTo>
                    <a:pt x="30" y="131"/>
                  </a:lnTo>
                  <a:lnTo>
                    <a:pt x="15" y="131"/>
                  </a:lnTo>
                  <a:lnTo>
                    <a:pt x="0" y="131"/>
                  </a:lnTo>
                  <a:lnTo>
                    <a:pt x="1" y="130"/>
                  </a:lnTo>
                  <a:lnTo>
                    <a:pt x="18" y="125"/>
                  </a:lnTo>
                  <a:lnTo>
                    <a:pt x="25" y="119"/>
                  </a:lnTo>
                  <a:lnTo>
                    <a:pt x="37" y="109"/>
                  </a:lnTo>
                  <a:lnTo>
                    <a:pt x="42" y="102"/>
                  </a:lnTo>
                  <a:lnTo>
                    <a:pt x="46" y="96"/>
                  </a:lnTo>
                  <a:lnTo>
                    <a:pt x="46" y="91"/>
                  </a:lnTo>
                  <a:lnTo>
                    <a:pt x="44" y="85"/>
                  </a:lnTo>
                  <a:lnTo>
                    <a:pt x="44" y="75"/>
                  </a:lnTo>
                  <a:lnTo>
                    <a:pt x="49" y="67"/>
                  </a:lnTo>
                  <a:lnTo>
                    <a:pt x="53" y="65"/>
                  </a:lnTo>
                  <a:lnTo>
                    <a:pt x="53" y="56"/>
                  </a:lnTo>
                  <a:lnTo>
                    <a:pt x="63" y="44"/>
                  </a:lnTo>
                  <a:lnTo>
                    <a:pt x="78" y="38"/>
                  </a:lnTo>
                  <a:lnTo>
                    <a:pt x="87" y="31"/>
                  </a:lnTo>
                  <a:lnTo>
                    <a:pt x="92" y="22"/>
                  </a:lnTo>
                  <a:lnTo>
                    <a:pt x="99" y="4"/>
                  </a:lnTo>
                  <a:lnTo>
                    <a:pt x="105" y="0"/>
                  </a:lnTo>
                  <a:lnTo>
                    <a:pt x="111" y="9"/>
                  </a:lnTo>
                  <a:lnTo>
                    <a:pt x="119" y="12"/>
                  </a:lnTo>
                  <a:lnTo>
                    <a:pt x="138" y="10"/>
                  </a:lnTo>
                  <a:lnTo>
                    <a:pt x="145" y="14"/>
                  </a:lnTo>
                  <a:lnTo>
                    <a:pt x="146" y="14"/>
                  </a:lnTo>
                  <a:lnTo>
                    <a:pt x="152" y="14"/>
                  </a:lnTo>
                  <a:lnTo>
                    <a:pt x="150" y="15"/>
                  </a:lnTo>
                  <a:lnTo>
                    <a:pt x="150" y="17"/>
                  </a:lnTo>
                  <a:lnTo>
                    <a:pt x="155" y="19"/>
                  </a:lnTo>
                  <a:lnTo>
                    <a:pt x="153" y="21"/>
                  </a:lnTo>
                  <a:lnTo>
                    <a:pt x="155" y="22"/>
                  </a:lnTo>
                  <a:lnTo>
                    <a:pt x="155" y="24"/>
                  </a:lnTo>
                  <a:lnTo>
                    <a:pt x="155" y="29"/>
                  </a:lnTo>
                  <a:lnTo>
                    <a:pt x="155" y="34"/>
                  </a:lnTo>
                  <a:lnTo>
                    <a:pt x="157" y="38"/>
                  </a:lnTo>
                  <a:lnTo>
                    <a:pt x="157" y="43"/>
                  </a:lnTo>
                  <a:lnTo>
                    <a:pt x="158" y="48"/>
                  </a:lnTo>
                  <a:lnTo>
                    <a:pt x="160" y="51"/>
                  </a:lnTo>
                  <a:lnTo>
                    <a:pt x="165" y="55"/>
                  </a:lnTo>
                  <a:lnTo>
                    <a:pt x="162" y="58"/>
                  </a:lnTo>
                  <a:lnTo>
                    <a:pt x="163" y="62"/>
                  </a:lnTo>
                  <a:lnTo>
                    <a:pt x="140" y="62"/>
                  </a:lnTo>
                  <a:lnTo>
                    <a:pt x="138" y="67"/>
                  </a:lnTo>
                  <a:lnTo>
                    <a:pt x="126" y="70"/>
                  </a:lnTo>
                  <a:lnTo>
                    <a:pt x="126" y="72"/>
                  </a:lnTo>
                  <a:lnTo>
                    <a:pt x="128" y="73"/>
                  </a:lnTo>
                  <a:lnTo>
                    <a:pt x="126" y="77"/>
                  </a:lnTo>
                  <a:lnTo>
                    <a:pt x="129" y="79"/>
                  </a:lnTo>
                  <a:lnTo>
                    <a:pt x="129" y="80"/>
                  </a:lnTo>
                  <a:lnTo>
                    <a:pt x="112" y="87"/>
                  </a:lnTo>
                  <a:lnTo>
                    <a:pt x="107" y="94"/>
                  </a:lnTo>
                  <a:lnTo>
                    <a:pt x="102" y="97"/>
                  </a:lnTo>
                  <a:lnTo>
                    <a:pt x="88" y="99"/>
                  </a:lnTo>
                  <a:lnTo>
                    <a:pt x="88" y="102"/>
                  </a:lnTo>
                  <a:lnTo>
                    <a:pt x="82" y="101"/>
                  </a:lnTo>
                  <a:lnTo>
                    <a:pt x="75" y="106"/>
                  </a:lnTo>
                  <a:lnTo>
                    <a:pt x="71" y="106"/>
                  </a:lnTo>
                  <a:lnTo>
                    <a:pt x="66" y="109"/>
                  </a:lnTo>
                  <a:lnTo>
                    <a:pt x="59" y="114"/>
                  </a:lnTo>
                  <a:lnTo>
                    <a:pt x="59" y="131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4" name="Freeform 180">
              <a:extLst>
                <a:ext uri="{FF2B5EF4-FFF2-40B4-BE49-F238E27FC236}">
                  <a16:creationId xmlns:a16="http://schemas.microsoft.com/office/drawing/2014/main" id="{838BE12F-55C2-5D41-87B7-AE2DD87E4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8784" y="2472138"/>
              <a:ext cx="88222" cy="89238"/>
            </a:xfrm>
            <a:custGeom>
              <a:avLst/>
              <a:gdLst/>
              <a:ahLst/>
              <a:cxnLst>
                <a:cxn ang="0">
                  <a:pos x="111" y="172"/>
                </a:cxn>
                <a:cxn ang="0">
                  <a:pos x="142" y="172"/>
                </a:cxn>
                <a:cxn ang="0">
                  <a:pos x="160" y="160"/>
                </a:cxn>
                <a:cxn ang="0">
                  <a:pos x="154" y="143"/>
                </a:cxn>
                <a:cxn ang="0">
                  <a:pos x="150" y="112"/>
                </a:cxn>
                <a:cxn ang="0">
                  <a:pos x="147" y="82"/>
                </a:cxn>
                <a:cxn ang="0">
                  <a:pos x="143" y="49"/>
                </a:cxn>
                <a:cxn ang="0">
                  <a:pos x="154" y="34"/>
                </a:cxn>
                <a:cxn ang="0">
                  <a:pos x="154" y="26"/>
                </a:cxn>
                <a:cxn ang="0">
                  <a:pos x="128" y="8"/>
                </a:cxn>
                <a:cxn ang="0">
                  <a:pos x="114" y="19"/>
                </a:cxn>
                <a:cxn ang="0">
                  <a:pos x="92" y="17"/>
                </a:cxn>
                <a:cxn ang="0">
                  <a:pos x="72" y="17"/>
                </a:cxn>
                <a:cxn ang="0">
                  <a:pos x="70" y="43"/>
                </a:cxn>
                <a:cxn ang="0">
                  <a:pos x="58" y="60"/>
                </a:cxn>
                <a:cxn ang="0">
                  <a:pos x="55" y="75"/>
                </a:cxn>
                <a:cxn ang="0">
                  <a:pos x="43" y="87"/>
                </a:cxn>
                <a:cxn ang="0">
                  <a:pos x="17" y="87"/>
                </a:cxn>
                <a:cxn ang="0">
                  <a:pos x="0" y="92"/>
                </a:cxn>
                <a:cxn ang="0">
                  <a:pos x="5" y="99"/>
                </a:cxn>
                <a:cxn ang="0">
                  <a:pos x="10" y="102"/>
                </a:cxn>
                <a:cxn ang="0">
                  <a:pos x="10" y="111"/>
                </a:cxn>
                <a:cxn ang="0">
                  <a:pos x="12" y="123"/>
                </a:cxn>
                <a:cxn ang="0">
                  <a:pos x="14" y="141"/>
                </a:cxn>
                <a:cxn ang="0">
                  <a:pos x="9" y="157"/>
                </a:cxn>
                <a:cxn ang="0">
                  <a:pos x="26" y="155"/>
                </a:cxn>
                <a:cxn ang="0">
                  <a:pos x="43" y="162"/>
                </a:cxn>
                <a:cxn ang="0">
                  <a:pos x="51" y="170"/>
                </a:cxn>
                <a:cxn ang="0">
                  <a:pos x="58" y="174"/>
                </a:cxn>
                <a:cxn ang="0">
                  <a:pos x="67" y="182"/>
                </a:cxn>
                <a:cxn ang="0">
                  <a:pos x="77" y="167"/>
                </a:cxn>
                <a:cxn ang="0">
                  <a:pos x="84" y="176"/>
                </a:cxn>
                <a:cxn ang="0">
                  <a:pos x="94" y="172"/>
                </a:cxn>
              </a:cxnLst>
              <a:rect l="0" t="0" r="r" b="b"/>
              <a:pathLst>
                <a:path w="167" h="183">
                  <a:moveTo>
                    <a:pt x="94" y="172"/>
                  </a:moveTo>
                  <a:lnTo>
                    <a:pt x="111" y="172"/>
                  </a:lnTo>
                  <a:lnTo>
                    <a:pt x="126" y="172"/>
                  </a:lnTo>
                  <a:lnTo>
                    <a:pt x="142" y="172"/>
                  </a:lnTo>
                  <a:lnTo>
                    <a:pt x="157" y="172"/>
                  </a:lnTo>
                  <a:lnTo>
                    <a:pt x="160" y="160"/>
                  </a:lnTo>
                  <a:lnTo>
                    <a:pt x="155" y="159"/>
                  </a:lnTo>
                  <a:lnTo>
                    <a:pt x="154" y="143"/>
                  </a:lnTo>
                  <a:lnTo>
                    <a:pt x="152" y="128"/>
                  </a:lnTo>
                  <a:lnTo>
                    <a:pt x="150" y="112"/>
                  </a:lnTo>
                  <a:lnTo>
                    <a:pt x="149" y="97"/>
                  </a:lnTo>
                  <a:lnTo>
                    <a:pt x="147" y="82"/>
                  </a:lnTo>
                  <a:lnTo>
                    <a:pt x="145" y="66"/>
                  </a:lnTo>
                  <a:lnTo>
                    <a:pt x="143" y="49"/>
                  </a:lnTo>
                  <a:lnTo>
                    <a:pt x="142" y="34"/>
                  </a:lnTo>
                  <a:lnTo>
                    <a:pt x="154" y="34"/>
                  </a:lnTo>
                  <a:lnTo>
                    <a:pt x="166" y="34"/>
                  </a:lnTo>
                  <a:lnTo>
                    <a:pt x="154" y="26"/>
                  </a:lnTo>
                  <a:lnTo>
                    <a:pt x="142" y="17"/>
                  </a:lnTo>
                  <a:lnTo>
                    <a:pt x="128" y="8"/>
                  </a:lnTo>
                  <a:lnTo>
                    <a:pt x="116" y="0"/>
                  </a:lnTo>
                  <a:lnTo>
                    <a:pt x="114" y="19"/>
                  </a:lnTo>
                  <a:lnTo>
                    <a:pt x="104" y="19"/>
                  </a:lnTo>
                  <a:lnTo>
                    <a:pt x="92" y="17"/>
                  </a:lnTo>
                  <a:lnTo>
                    <a:pt x="82" y="17"/>
                  </a:lnTo>
                  <a:lnTo>
                    <a:pt x="72" y="17"/>
                  </a:lnTo>
                  <a:lnTo>
                    <a:pt x="70" y="29"/>
                  </a:lnTo>
                  <a:lnTo>
                    <a:pt x="70" y="43"/>
                  </a:lnTo>
                  <a:lnTo>
                    <a:pt x="70" y="56"/>
                  </a:lnTo>
                  <a:lnTo>
                    <a:pt x="58" y="60"/>
                  </a:lnTo>
                  <a:lnTo>
                    <a:pt x="55" y="65"/>
                  </a:lnTo>
                  <a:lnTo>
                    <a:pt x="55" y="75"/>
                  </a:lnTo>
                  <a:lnTo>
                    <a:pt x="56" y="87"/>
                  </a:lnTo>
                  <a:lnTo>
                    <a:pt x="43" y="87"/>
                  </a:lnTo>
                  <a:lnTo>
                    <a:pt x="31" y="87"/>
                  </a:lnTo>
                  <a:lnTo>
                    <a:pt x="17" y="87"/>
                  </a:lnTo>
                  <a:lnTo>
                    <a:pt x="4" y="87"/>
                  </a:lnTo>
                  <a:lnTo>
                    <a:pt x="0" y="92"/>
                  </a:lnTo>
                  <a:lnTo>
                    <a:pt x="2" y="92"/>
                  </a:lnTo>
                  <a:lnTo>
                    <a:pt x="5" y="99"/>
                  </a:lnTo>
                  <a:lnTo>
                    <a:pt x="9" y="99"/>
                  </a:lnTo>
                  <a:lnTo>
                    <a:pt x="10" y="102"/>
                  </a:lnTo>
                  <a:lnTo>
                    <a:pt x="10" y="107"/>
                  </a:lnTo>
                  <a:lnTo>
                    <a:pt x="10" y="111"/>
                  </a:lnTo>
                  <a:lnTo>
                    <a:pt x="7" y="116"/>
                  </a:lnTo>
                  <a:lnTo>
                    <a:pt x="12" y="123"/>
                  </a:lnTo>
                  <a:lnTo>
                    <a:pt x="12" y="130"/>
                  </a:lnTo>
                  <a:lnTo>
                    <a:pt x="14" y="141"/>
                  </a:lnTo>
                  <a:lnTo>
                    <a:pt x="5" y="164"/>
                  </a:lnTo>
                  <a:lnTo>
                    <a:pt x="9" y="157"/>
                  </a:lnTo>
                  <a:lnTo>
                    <a:pt x="17" y="159"/>
                  </a:lnTo>
                  <a:lnTo>
                    <a:pt x="26" y="155"/>
                  </a:lnTo>
                  <a:lnTo>
                    <a:pt x="36" y="155"/>
                  </a:lnTo>
                  <a:lnTo>
                    <a:pt x="43" y="162"/>
                  </a:lnTo>
                  <a:lnTo>
                    <a:pt x="48" y="162"/>
                  </a:lnTo>
                  <a:lnTo>
                    <a:pt x="51" y="170"/>
                  </a:lnTo>
                  <a:lnTo>
                    <a:pt x="55" y="172"/>
                  </a:lnTo>
                  <a:lnTo>
                    <a:pt x="58" y="174"/>
                  </a:lnTo>
                  <a:lnTo>
                    <a:pt x="56" y="176"/>
                  </a:lnTo>
                  <a:lnTo>
                    <a:pt x="67" y="182"/>
                  </a:lnTo>
                  <a:lnTo>
                    <a:pt x="72" y="177"/>
                  </a:lnTo>
                  <a:lnTo>
                    <a:pt x="77" y="167"/>
                  </a:lnTo>
                  <a:lnTo>
                    <a:pt x="80" y="169"/>
                  </a:lnTo>
                  <a:lnTo>
                    <a:pt x="84" y="176"/>
                  </a:lnTo>
                  <a:lnTo>
                    <a:pt x="87" y="177"/>
                  </a:lnTo>
                  <a:lnTo>
                    <a:pt x="94" y="172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5" name="Freeform 181">
              <a:extLst>
                <a:ext uri="{FF2B5EF4-FFF2-40B4-BE49-F238E27FC236}">
                  <a16:creationId xmlns:a16="http://schemas.microsoft.com/office/drawing/2014/main" id="{5C1438A7-EE8B-C645-9A62-6A995ED73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8784" y="2467749"/>
              <a:ext cx="61808" cy="49739"/>
            </a:xfrm>
            <a:custGeom>
              <a:avLst/>
              <a:gdLst/>
              <a:ahLst/>
              <a:cxnLst>
                <a:cxn ang="0">
                  <a:pos x="114" y="28"/>
                </a:cxn>
                <a:cxn ang="0">
                  <a:pos x="104" y="28"/>
                </a:cxn>
                <a:cxn ang="0">
                  <a:pos x="92" y="26"/>
                </a:cxn>
                <a:cxn ang="0">
                  <a:pos x="82" y="26"/>
                </a:cxn>
                <a:cxn ang="0">
                  <a:pos x="72" y="26"/>
                </a:cxn>
                <a:cxn ang="0">
                  <a:pos x="70" y="38"/>
                </a:cxn>
                <a:cxn ang="0">
                  <a:pos x="70" y="52"/>
                </a:cxn>
                <a:cxn ang="0">
                  <a:pos x="70" y="65"/>
                </a:cxn>
                <a:cxn ang="0">
                  <a:pos x="58" y="69"/>
                </a:cxn>
                <a:cxn ang="0">
                  <a:pos x="55" y="74"/>
                </a:cxn>
                <a:cxn ang="0">
                  <a:pos x="55" y="84"/>
                </a:cxn>
                <a:cxn ang="0">
                  <a:pos x="56" y="96"/>
                </a:cxn>
                <a:cxn ang="0">
                  <a:pos x="43" y="96"/>
                </a:cxn>
                <a:cxn ang="0">
                  <a:pos x="31" y="96"/>
                </a:cxn>
                <a:cxn ang="0">
                  <a:pos x="17" y="96"/>
                </a:cxn>
                <a:cxn ang="0">
                  <a:pos x="4" y="96"/>
                </a:cxn>
                <a:cxn ang="0">
                  <a:pos x="0" y="101"/>
                </a:cxn>
                <a:cxn ang="0">
                  <a:pos x="2" y="91"/>
                </a:cxn>
                <a:cxn ang="0">
                  <a:pos x="4" y="84"/>
                </a:cxn>
                <a:cxn ang="0">
                  <a:pos x="7" y="82"/>
                </a:cxn>
                <a:cxn ang="0">
                  <a:pos x="12" y="72"/>
                </a:cxn>
                <a:cxn ang="0">
                  <a:pos x="12" y="70"/>
                </a:cxn>
                <a:cxn ang="0">
                  <a:pos x="19" y="58"/>
                </a:cxn>
                <a:cxn ang="0">
                  <a:pos x="31" y="41"/>
                </a:cxn>
                <a:cxn ang="0">
                  <a:pos x="34" y="26"/>
                </a:cxn>
                <a:cxn ang="0">
                  <a:pos x="39" y="21"/>
                </a:cxn>
                <a:cxn ang="0">
                  <a:pos x="48" y="16"/>
                </a:cxn>
                <a:cxn ang="0">
                  <a:pos x="51" y="9"/>
                </a:cxn>
                <a:cxn ang="0">
                  <a:pos x="55" y="0"/>
                </a:cxn>
                <a:cxn ang="0">
                  <a:pos x="70" y="0"/>
                </a:cxn>
                <a:cxn ang="0">
                  <a:pos x="85" y="0"/>
                </a:cxn>
                <a:cxn ang="0">
                  <a:pos x="101" y="0"/>
                </a:cxn>
                <a:cxn ang="0">
                  <a:pos x="114" y="0"/>
                </a:cxn>
                <a:cxn ang="0">
                  <a:pos x="116" y="9"/>
                </a:cxn>
                <a:cxn ang="0">
                  <a:pos x="114" y="28"/>
                </a:cxn>
              </a:cxnLst>
              <a:rect l="0" t="0" r="r" b="b"/>
              <a:pathLst>
                <a:path w="117" h="102">
                  <a:moveTo>
                    <a:pt x="114" y="28"/>
                  </a:moveTo>
                  <a:lnTo>
                    <a:pt x="104" y="28"/>
                  </a:lnTo>
                  <a:lnTo>
                    <a:pt x="92" y="26"/>
                  </a:lnTo>
                  <a:lnTo>
                    <a:pt x="82" y="26"/>
                  </a:lnTo>
                  <a:lnTo>
                    <a:pt x="72" y="26"/>
                  </a:lnTo>
                  <a:lnTo>
                    <a:pt x="70" y="38"/>
                  </a:lnTo>
                  <a:lnTo>
                    <a:pt x="70" y="52"/>
                  </a:lnTo>
                  <a:lnTo>
                    <a:pt x="70" y="65"/>
                  </a:lnTo>
                  <a:lnTo>
                    <a:pt x="58" y="69"/>
                  </a:lnTo>
                  <a:lnTo>
                    <a:pt x="55" y="74"/>
                  </a:lnTo>
                  <a:lnTo>
                    <a:pt x="55" y="84"/>
                  </a:lnTo>
                  <a:lnTo>
                    <a:pt x="56" y="96"/>
                  </a:lnTo>
                  <a:lnTo>
                    <a:pt x="43" y="96"/>
                  </a:lnTo>
                  <a:lnTo>
                    <a:pt x="31" y="96"/>
                  </a:lnTo>
                  <a:lnTo>
                    <a:pt x="17" y="96"/>
                  </a:lnTo>
                  <a:lnTo>
                    <a:pt x="4" y="96"/>
                  </a:lnTo>
                  <a:lnTo>
                    <a:pt x="0" y="101"/>
                  </a:lnTo>
                  <a:lnTo>
                    <a:pt x="2" y="91"/>
                  </a:lnTo>
                  <a:lnTo>
                    <a:pt x="4" y="84"/>
                  </a:lnTo>
                  <a:lnTo>
                    <a:pt x="7" y="82"/>
                  </a:lnTo>
                  <a:lnTo>
                    <a:pt x="12" y="72"/>
                  </a:lnTo>
                  <a:lnTo>
                    <a:pt x="12" y="70"/>
                  </a:lnTo>
                  <a:lnTo>
                    <a:pt x="19" y="58"/>
                  </a:lnTo>
                  <a:lnTo>
                    <a:pt x="31" y="41"/>
                  </a:lnTo>
                  <a:lnTo>
                    <a:pt x="34" y="26"/>
                  </a:lnTo>
                  <a:lnTo>
                    <a:pt x="39" y="21"/>
                  </a:lnTo>
                  <a:lnTo>
                    <a:pt x="48" y="16"/>
                  </a:lnTo>
                  <a:lnTo>
                    <a:pt x="51" y="9"/>
                  </a:lnTo>
                  <a:lnTo>
                    <a:pt x="55" y="0"/>
                  </a:lnTo>
                  <a:lnTo>
                    <a:pt x="70" y="0"/>
                  </a:lnTo>
                  <a:lnTo>
                    <a:pt x="85" y="0"/>
                  </a:lnTo>
                  <a:lnTo>
                    <a:pt x="101" y="0"/>
                  </a:lnTo>
                  <a:lnTo>
                    <a:pt x="114" y="0"/>
                  </a:lnTo>
                  <a:lnTo>
                    <a:pt x="116" y="9"/>
                  </a:lnTo>
                  <a:lnTo>
                    <a:pt x="114" y="28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6" name="Freeform 182">
              <a:extLst>
                <a:ext uri="{FF2B5EF4-FFF2-40B4-BE49-F238E27FC236}">
                  <a16:creationId xmlns:a16="http://schemas.microsoft.com/office/drawing/2014/main" id="{ED6FF65C-A2BA-6D4E-90B8-20AD7D788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9008" y="2394116"/>
              <a:ext cx="148446" cy="138490"/>
            </a:xfrm>
            <a:custGeom>
              <a:avLst/>
              <a:gdLst/>
              <a:ahLst/>
              <a:cxnLst>
                <a:cxn ang="0">
                  <a:pos x="14" y="168"/>
                </a:cxn>
                <a:cxn ang="0">
                  <a:pos x="40" y="186"/>
                </a:cxn>
                <a:cxn ang="0">
                  <a:pos x="64" y="201"/>
                </a:cxn>
                <a:cxn ang="0">
                  <a:pos x="82" y="215"/>
                </a:cxn>
                <a:cxn ang="0">
                  <a:pos x="103" y="230"/>
                </a:cxn>
                <a:cxn ang="0">
                  <a:pos x="123" y="244"/>
                </a:cxn>
                <a:cxn ang="0">
                  <a:pos x="135" y="255"/>
                </a:cxn>
                <a:cxn ang="0">
                  <a:pos x="144" y="262"/>
                </a:cxn>
                <a:cxn ang="0">
                  <a:pos x="152" y="266"/>
                </a:cxn>
                <a:cxn ang="0">
                  <a:pos x="164" y="276"/>
                </a:cxn>
                <a:cxn ang="0">
                  <a:pos x="164" y="283"/>
                </a:cxn>
                <a:cxn ang="0">
                  <a:pos x="186" y="278"/>
                </a:cxn>
                <a:cxn ang="0">
                  <a:pos x="205" y="269"/>
                </a:cxn>
                <a:cxn ang="0">
                  <a:pos x="220" y="257"/>
                </a:cxn>
                <a:cxn ang="0">
                  <a:pos x="234" y="247"/>
                </a:cxn>
                <a:cxn ang="0">
                  <a:pos x="248" y="238"/>
                </a:cxn>
                <a:cxn ang="0">
                  <a:pos x="261" y="230"/>
                </a:cxn>
                <a:cxn ang="0">
                  <a:pos x="273" y="221"/>
                </a:cxn>
                <a:cxn ang="0">
                  <a:pos x="275" y="204"/>
                </a:cxn>
                <a:cxn ang="0">
                  <a:pos x="260" y="201"/>
                </a:cxn>
                <a:cxn ang="0">
                  <a:pos x="255" y="189"/>
                </a:cxn>
                <a:cxn ang="0">
                  <a:pos x="248" y="174"/>
                </a:cxn>
                <a:cxn ang="0">
                  <a:pos x="253" y="151"/>
                </a:cxn>
                <a:cxn ang="0">
                  <a:pos x="246" y="117"/>
                </a:cxn>
                <a:cxn ang="0">
                  <a:pos x="248" y="112"/>
                </a:cxn>
                <a:cxn ang="0">
                  <a:pos x="232" y="76"/>
                </a:cxn>
                <a:cxn ang="0">
                  <a:pos x="231" y="66"/>
                </a:cxn>
                <a:cxn ang="0">
                  <a:pos x="220" y="53"/>
                </a:cxn>
                <a:cxn ang="0">
                  <a:pos x="236" y="32"/>
                </a:cxn>
                <a:cxn ang="0">
                  <a:pos x="236" y="12"/>
                </a:cxn>
                <a:cxn ang="0">
                  <a:pos x="239" y="1"/>
                </a:cxn>
                <a:cxn ang="0">
                  <a:pos x="220" y="0"/>
                </a:cxn>
                <a:cxn ang="0">
                  <a:pos x="207" y="0"/>
                </a:cxn>
                <a:cxn ang="0">
                  <a:pos x="193" y="6"/>
                </a:cxn>
                <a:cxn ang="0">
                  <a:pos x="174" y="3"/>
                </a:cxn>
                <a:cxn ang="0">
                  <a:pos x="162" y="5"/>
                </a:cxn>
                <a:cxn ang="0">
                  <a:pos x="137" y="10"/>
                </a:cxn>
                <a:cxn ang="0">
                  <a:pos x="123" y="18"/>
                </a:cxn>
                <a:cxn ang="0">
                  <a:pos x="110" y="22"/>
                </a:cxn>
                <a:cxn ang="0">
                  <a:pos x="93" y="34"/>
                </a:cxn>
                <a:cxn ang="0">
                  <a:pos x="91" y="37"/>
                </a:cxn>
                <a:cxn ang="0">
                  <a:pos x="94" y="41"/>
                </a:cxn>
                <a:cxn ang="0">
                  <a:pos x="96" y="44"/>
                </a:cxn>
                <a:cxn ang="0">
                  <a:pos x="96" y="54"/>
                </a:cxn>
                <a:cxn ang="0">
                  <a:pos x="98" y="63"/>
                </a:cxn>
                <a:cxn ang="0">
                  <a:pos x="101" y="71"/>
                </a:cxn>
                <a:cxn ang="0">
                  <a:pos x="103" y="78"/>
                </a:cxn>
                <a:cxn ang="0">
                  <a:pos x="81" y="82"/>
                </a:cxn>
                <a:cxn ang="0">
                  <a:pos x="67" y="90"/>
                </a:cxn>
                <a:cxn ang="0">
                  <a:pos x="69" y="93"/>
                </a:cxn>
                <a:cxn ang="0">
                  <a:pos x="70" y="99"/>
                </a:cxn>
                <a:cxn ang="0">
                  <a:pos x="53" y="107"/>
                </a:cxn>
                <a:cxn ang="0">
                  <a:pos x="43" y="117"/>
                </a:cxn>
                <a:cxn ang="0">
                  <a:pos x="29" y="122"/>
                </a:cxn>
                <a:cxn ang="0">
                  <a:pos x="16" y="126"/>
                </a:cxn>
                <a:cxn ang="0">
                  <a:pos x="7" y="129"/>
                </a:cxn>
                <a:cxn ang="0">
                  <a:pos x="0" y="151"/>
                </a:cxn>
              </a:cxnLst>
              <a:rect l="0" t="0" r="r" b="b"/>
              <a:pathLst>
                <a:path w="281" h="284">
                  <a:moveTo>
                    <a:pt x="2" y="160"/>
                  </a:moveTo>
                  <a:lnTo>
                    <a:pt x="14" y="168"/>
                  </a:lnTo>
                  <a:lnTo>
                    <a:pt x="28" y="177"/>
                  </a:lnTo>
                  <a:lnTo>
                    <a:pt x="40" y="186"/>
                  </a:lnTo>
                  <a:lnTo>
                    <a:pt x="52" y="194"/>
                  </a:lnTo>
                  <a:lnTo>
                    <a:pt x="64" y="201"/>
                  </a:lnTo>
                  <a:lnTo>
                    <a:pt x="72" y="208"/>
                  </a:lnTo>
                  <a:lnTo>
                    <a:pt x="82" y="215"/>
                  </a:lnTo>
                  <a:lnTo>
                    <a:pt x="93" y="223"/>
                  </a:lnTo>
                  <a:lnTo>
                    <a:pt x="103" y="230"/>
                  </a:lnTo>
                  <a:lnTo>
                    <a:pt x="113" y="237"/>
                  </a:lnTo>
                  <a:lnTo>
                    <a:pt x="123" y="244"/>
                  </a:lnTo>
                  <a:lnTo>
                    <a:pt x="133" y="250"/>
                  </a:lnTo>
                  <a:lnTo>
                    <a:pt x="135" y="255"/>
                  </a:lnTo>
                  <a:lnTo>
                    <a:pt x="142" y="259"/>
                  </a:lnTo>
                  <a:lnTo>
                    <a:pt x="144" y="262"/>
                  </a:lnTo>
                  <a:lnTo>
                    <a:pt x="151" y="264"/>
                  </a:lnTo>
                  <a:lnTo>
                    <a:pt x="152" y="266"/>
                  </a:lnTo>
                  <a:lnTo>
                    <a:pt x="162" y="269"/>
                  </a:lnTo>
                  <a:lnTo>
                    <a:pt x="164" y="276"/>
                  </a:lnTo>
                  <a:lnTo>
                    <a:pt x="162" y="281"/>
                  </a:lnTo>
                  <a:lnTo>
                    <a:pt x="164" y="283"/>
                  </a:lnTo>
                  <a:lnTo>
                    <a:pt x="176" y="279"/>
                  </a:lnTo>
                  <a:lnTo>
                    <a:pt x="186" y="278"/>
                  </a:lnTo>
                  <a:lnTo>
                    <a:pt x="197" y="274"/>
                  </a:lnTo>
                  <a:lnTo>
                    <a:pt x="205" y="269"/>
                  </a:lnTo>
                  <a:lnTo>
                    <a:pt x="212" y="262"/>
                  </a:lnTo>
                  <a:lnTo>
                    <a:pt x="220" y="257"/>
                  </a:lnTo>
                  <a:lnTo>
                    <a:pt x="229" y="250"/>
                  </a:lnTo>
                  <a:lnTo>
                    <a:pt x="234" y="247"/>
                  </a:lnTo>
                  <a:lnTo>
                    <a:pt x="241" y="242"/>
                  </a:lnTo>
                  <a:lnTo>
                    <a:pt x="248" y="238"/>
                  </a:lnTo>
                  <a:lnTo>
                    <a:pt x="255" y="233"/>
                  </a:lnTo>
                  <a:lnTo>
                    <a:pt x="261" y="230"/>
                  </a:lnTo>
                  <a:lnTo>
                    <a:pt x="268" y="225"/>
                  </a:lnTo>
                  <a:lnTo>
                    <a:pt x="273" y="221"/>
                  </a:lnTo>
                  <a:lnTo>
                    <a:pt x="280" y="216"/>
                  </a:lnTo>
                  <a:lnTo>
                    <a:pt x="275" y="204"/>
                  </a:lnTo>
                  <a:lnTo>
                    <a:pt x="267" y="201"/>
                  </a:lnTo>
                  <a:lnTo>
                    <a:pt x="260" y="201"/>
                  </a:lnTo>
                  <a:lnTo>
                    <a:pt x="256" y="196"/>
                  </a:lnTo>
                  <a:lnTo>
                    <a:pt x="255" y="189"/>
                  </a:lnTo>
                  <a:lnTo>
                    <a:pt x="248" y="175"/>
                  </a:lnTo>
                  <a:lnTo>
                    <a:pt x="248" y="174"/>
                  </a:lnTo>
                  <a:lnTo>
                    <a:pt x="253" y="172"/>
                  </a:lnTo>
                  <a:lnTo>
                    <a:pt x="253" y="151"/>
                  </a:lnTo>
                  <a:lnTo>
                    <a:pt x="251" y="128"/>
                  </a:lnTo>
                  <a:lnTo>
                    <a:pt x="246" y="117"/>
                  </a:lnTo>
                  <a:lnTo>
                    <a:pt x="246" y="114"/>
                  </a:lnTo>
                  <a:lnTo>
                    <a:pt x="248" y="112"/>
                  </a:lnTo>
                  <a:lnTo>
                    <a:pt x="244" y="83"/>
                  </a:lnTo>
                  <a:lnTo>
                    <a:pt x="232" y="76"/>
                  </a:lnTo>
                  <a:lnTo>
                    <a:pt x="232" y="73"/>
                  </a:lnTo>
                  <a:lnTo>
                    <a:pt x="231" y="66"/>
                  </a:lnTo>
                  <a:lnTo>
                    <a:pt x="224" y="64"/>
                  </a:lnTo>
                  <a:lnTo>
                    <a:pt x="220" y="53"/>
                  </a:lnTo>
                  <a:lnTo>
                    <a:pt x="232" y="42"/>
                  </a:lnTo>
                  <a:lnTo>
                    <a:pt x="236" y="32"/>
                  </a:lnTo>
                  <a:lnTo>
                    <a:pt x="234" y="22"/>
                  </a:lnTo>
                  <a:lnTo>
                    <a:pt x="236" y="12"/>
                  </a:lnTo>
                  <a:lnTo>
                    <a:pt x="232" y="10"/>
                  </a:lnTo>
                  <a:lnTo>
                    <a:pt x="239" y="1"/>
                  </a:lnTo>
                  <a:lnTo>
                    <a:pt x="227" y="3"/>
                  </a:lnTo>
                  <a:lnTo>
                    <a:pt x="220" y="0"/>
                  </a:lnTo>
                  <a:lnTo>
                    <a:pt x="215" y="3"/>
                  </a:lnTo>
                  <a:lnTo>
                    <a:pt x="207" y="0"/>
                  </a:lnTo>
                  <a:lnTo>
                    <a:pt x="205" y="3"/>
                  </a:lnTo>
                  <a:lnTo>
                    <a:pt x="193" y="6"/>
                  </a:lnTo>
                  <a:lnTo>
                    <a:pt x="188" y="3"/>
                  </a:lnTo>
                  <a:lnTo>
                    <a:pt x="174" y="3"/>
                  </a:lnTo>
                  <a:lnTo>
                    <a:pt x="168" y="5"/>
                  </a:lnTo>
                  <a:lnTo>
                    <a:pt x="162" y="5"/>
                  </a:lnTo>
                  <a:lnTo>
                    <a:pt x="157" y="8"/>
                  </a:lnTo>
                  <a:lnTo>
                    <a:pt x="137" y="10"/>
                  </a:lnTo>
                  <a:lnTo>
                    <a:pt x="125" y="15"/>
                  </a:lnTo>
                  <a:lnTo>
                    <a:pt x="123" y="18"/>
                  </a:lnTo>
                  <a:lnTo>
                    <a:pt x="122" y="20"/>
                  </a:lnTo>
                  <a:lnTo>
                    <a:pt x="110" y="22"/>
                  </a:lnTo>
                  <a:lnTo>
                    <a:pt x="101" y="30"/>
                  </a:lnTo>
                  <a:lnTo>
                    <a:pt x="93" y="34"/>
                  </a:lnTo>
                  <a:lnTo>
                    <a:pt x="91" y="35"/>
                  </a:lnTo>
                  <a:lnTo>
                    <a:pt x="91" y="37"/>
                  </a:lnTo>
                  <a:lnTo>
                    <a:pt x="96" y="39"/>
                  </a:lnTo>
                  <a:lnTo>
                    <a:pt x="94" y="41"/>
                  </a:lnTo>
                  <a:lnTo>
                    <a:pt x="96" y="42"/>
                  </a:lnTo>
                  <a:lnTo>
                    <a:pt x="96" y="44"/>
                  </a:lnTo>
                  <a:lnTo>
                    <a:pt x="96" y="49"/>
                  </a:lnTo>
                  <a:lnTo>
                    <a:pt x="96" y="54"/>
                  </a:lnTo>
                  <a:lnTo>
                    <a:pt x="98" y="58"/>
                  </a:lnTo>
                  <a:lnTo>
                    <a:pt x="98" y="63"/>
                  </a:lnTo>
                  <a:lnTo>
                    <a:pt x="99" y="68"/>
                  </a:lnTo>
                  <a:lnTo>
                    <a:pt x="101" y="71"/>
                  </a:lnTo>
                  <a:lnTo>
                    <a:pt x="106" y="75"/>
                  </a:lnTo>
                  <a:lnTo>
                    <a:pt x="103" y="78"/>
                  </a:lnTo>
                  <a:lnTo>
                    <a:pt x="104" y="82"/>
                  </a:lnTo>
                  <a:lnTo>
                    <a:pt x="81" y="82"/>
                  </a:lnTo>
                  <a:lnTo>
                    <a:pt x="79" y="87"/>
                  </a:lnTo>
                  <a:lnTo>
                    <a:pt x="67" y="90"/>
                  </a:lnTo>
                  <a:lnTo>
                    <a:pt x="67" y="92"/>
                  </a:lnTo>
                  <a:lnTo>
                    <a:pt x="69" y="93"/>
                  </a:lnTo>
                  <a:lnTo>
                    <a:pt x="67" y="97"/>
                  </a:lnTo>
                  <a:lnTo>
                    <a:pt x="70" y="99"/>
                  </a:lnTo>
                  <a:lnTo>
                    <a:pt x="70" y="100"/>
                  </a:lnTo>
                  <a:lnTo>
                    <a:pt x="53" y="107"/>
                  </a:lnTo>
                  <a:lnTo>
                    <a:pt x="48" y="114"/>
                  </a:lnTo>
                  <a:lnTo>
                    <a:pt x="43" y="117"/>
                  </a:lnTo>
                  <a:lnTo>
                    <a:pt x="29" y="119"/>
                  </a:lnTo>
                  <a:lnTo>
                    <a:pt x="29" y="122"/>
                  </a:lnTo>
                  <a:lnTo>
                    <a:pt x="23" y="121"/>
                  </a:lnTo>
                  <a:lnTo>
                    <a:pt x="16" y="126"/>
                  </a:lnTo>
                  <a:lnTo>
                    <a:pt x="12" y="126"/>
                  </a:lnTo>
                  <a:lnTo>
                    <a:pt x="7" y="129"/>
                  </a:lnTo>
                  <a:lnTo>
                    <a:pt x="0" y="134"/>
                  </a:lnTo>
                  <a:lnTo>
                    <a:pt x="0" y="151"/>
                  </a:lnTo>
                  <a:lnTo>
                    <a:pt x="2" y="16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7" name="Freeform 183">
              <a:extLst>
                <a:ext uri="{FF2B5EF4-FFF2-40B4-BE49-F238E27FC236}">
                  <a16:creationId xmlns:a16="http://schemas.microsoft.com/office/drawing/2014/main" id="{01F26667-1978-A145-A6FE-02B415975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4179" y="2488718"/>
              <a:ext cx="118334" cy="104355"/>
            </a:xfrm>
            <a:custGeom>
              <a:avLst/>
              <a:gdLst/>
              <a:ahLst/>
              <a:cxnLst>
                <a:cxn ang="0">
                  <a:pos x="44" y="138"/>
                </a:cxn>
                <a:cxn ang="0">
                  <a:pos x="75" y="138"/>
                </a:cxn>
                <a:cxn ang="0">
                  <a:pos x="93" y="126"/>
                </a:cxn>
                <a:cxn ang="0">
                  <a:pos x="87" y="109"/>
                </a:cxn>
                <a:cxn ang="0">
                  <a:pos x="83" y="78"/>
                </a:cxn>
                <a:cxn ang="0">
                  <a:pos x="80" y="48"/>
                </a:cxn>
                <a:cxn ang="0">
                  <a:pos x="76" y="15"/>
                </a:cxn>
                <a:cxn ang="0">
                  <a:pos x="87" y="0"/>
                </a:cxn>
                <a:cxn ang="0">
                  <a:pos x="111" y="7"/>
                </a:cxn>
                <a:cxn ang="0">
                  <a:pos x="129" y="21"/>
                </a:cxn>
                <a:cxn ang="0">
                  <a:pos x="150" y="36"/>
                </a:cxn>
                <a:cxn ang="0">
                  <a:pos x="170" y="50"/>
                </a:cxn>
                <a:cxn ang="0">
                  <a:pos x="182" y="61"/>
                </a:cxn>
                <a:cxn ang="0">
                  <a:pos x="191" y="68"/>
                </a:cxn>
                <a:cxn ang="0">
                  <a:pos x="199" y="72"/>
                </a:cxn>
                <a:cxn ang="0">
                  <a:pos x="211" y="82"/>
                </a:cxn>
                <a:cxn ang="0">
                  <a:pos x="211" y="89"/>
                </a:cxn>
                <a:cxn ang="0">
                  <a:pos x="223" y="97"/>
                </a:cxn>
                <a:cxn ang="0">
                  <a:pos x="223" y="119"/>
                </a:cxn>
                <a:cxn ang="0">
                  <a:pos x="220" y="131"/>
                </a:cxn>
                <a:cxn ang="0">
                  <a:pos x="199" y="140"/>
                </a:cxn>
                <a:cxn ang="0">
                  <a:pos x="179" y="145"/>
                </a:cxn>
                <a:cxn ang="0">
                  <a:pos x="155" y="148"/>
                </a:cxn>
                <a:cxn ang="0">
                  <a:pos x="112" y="171"/>
                </a:cxn>
                <a:cxn ang="0">
                  <a:pos x="97" y="194"/>
                </a:cxn>
                <a:cxn ang="0">
                  <a:pos x="95" y="211"/>
                </a:cxn>
                <a:cxn ang="0">
                  <a:pos x="90" y="210"/>
                </a:cxn>
                <a:cxn ang="0">
                  <a:pos x="83" y="211"/>
                </a:cxn>
                <a:cxn ang="0">
                  <a:pos x="80" y="205"/>
                </a:cxn>
                <a:cxn ang="0">
                  <a:pos x="78" y="208"/>
                </a:cxn>
                <a:cxn ang="0">
                  <a:pos x="75" y="210"/>
                </a:cxn>
                <a:cxn ang="0">
                  <a:pos x="70" y="213"/>
                </a:cxn>
                <a:cxn ang="0">
                  <a:pos x="64" y="211"/>
                </a:cxn>
                <a:cxn ang="0">
                  <a:pos x="56" y="213"/>
                </a:cxn>
                <a:cxn ang="0">
                  <a:pos x="51" y="201"/>
                </a:cxn>
                <a:cxn ang="0">
                  <a:pos x="47" y="203"/>
                </a:cxn>
                <a:cxn ang="0">
                  <a:pos x="51" y="198"/>
                </a:cxn>
                <a:cxn ang="0">
                  <a:pos x="47" y="194"/>
                </a:cxn>
                <a:cxn ang="0">
                  <a:pos x="46" y="193"/>
                </a:cxn>
                <a:cxn ang="0">
                  <a:pos x="44" y="184"/>
                </a:cxn>
                <a:cxn ang="0">
                  <a:pos x="42" y="181"/>
                </a:cxn>
                <a:cxn ang="0">
                  <a:pos x="37" y="183"/>
                </a:cxn>
                <a:cxn ang="0">
                  <a:pos x="32" y="188"/>
                </a:cxn>
                <a:cxn ang="0">
                  <a:pos x="20" y="188"/>
                </a:cxn>
                <a:cxn ang="0">
                  <a:pos x="12" y="188"/>
                </a:cxn>
                <a:cxn ang="0">
                  <a:pos x="8" y="186"/>
                </a:cxn>
                <a:cxn ang="0">
                  <a:pos x="12" y="174"/>
                </a:cxn>
                <a:cxn ang="0">
                  <a:pos x="3" y="167"/>
                </a:cxn>
                <a:cxn ang="0">
                  <a:pos x="3" y="160"/>
                </a:cxn>
                <a:cxn ang="0">
                  <a:pos x="0" y="154"/>
                </a:cxn>
                <a:cxn ang="0">
                  <a:pos x="5" y="143"/>
                </a:cxn>
                <a:cxn ang="0">
                  <a:pos x="13" y="135"/>
                </a:cxn>
                <a:cxn ang="0">
                  <a:pos x="20" y="143"/>
                </a:cxn>
              </a:cxnLst>
              <a:rect l="0" t="0" r="r" b="b"/>
              <a:pathLst>
                <a:path w="224" h="214">
                  <a:moveTo>
                    <a:pt x="27" y="138"/>
                  </a:moveTo>
                  <a:lnTo>
                    <a:pt x="44" y="138"/>
                  </a:lnTo>
                  <a:lnTo>
                    <a:pt x="59" y="138"/>
                  </a:lnTo>
                  <a:lnTo>
                    <a:pt x="75" y="138"/>
                  </a:lnTo>
                  <a:lnTo>
                    <a:pt x="90" y="138"/>
                  </a:lnTo>
                  <a:lnTo>
                    <a:pt x="93" y="126"/>
                  </a:lnTo>
                  <a:lnTo>
                    <a:pt x="88" y="125"/>
                  </a:lnTo>
                  <a:lnTo>
                    <a:pt x="87" y="109"/>
                  </a:lnTo>
                  <a:lnTo>
                    <a:pt x="85" y="94"/>
                  </a:lnTo>
                  <a:lnTo>
                    <a:pt x="83" y="78"/>
                  </a:lnTo>
                  <a:lnTo>
                    <a:pt x="82" y="63"/>
                  </a:lnTo>
                  <a:lnTo>
                    <a:pt x="80" y="48"/>
                  </a:lnTo>
                  <a:lnTo>
                    <a:pt x="78" y="32"/>
                  </a:lnTo>
                  <a:lnTo>
                    <a:pt x="76" y="15"/>
                  </a:lnTo>
                  <a:lnTo>
                    <a:pt x="75" y="0"/>
                  </a:lnTo>
                  <a:lnTo>
                    <a:pt x="87" y="0"/>
                  </a:lnTo>
                  <a:lnTo>
                    <a:pt x="99" y="0"/>
                  </a:lnTo>
                  <a:lnTo>
                    <a:pt x="111" y="7"/>
                  </a:lnTo>
                  <a:lnTo>
                    <a:pt x="119" y="14"/>
                  </a:lnTo>
                  <a:lnTo>
                    <a:pt x="129" y="21"/>
                  </a:lnTo>
                  <a:lnTo>
                    <a:pt x="140" y="29"/>
                  </a:lnTo>
                  <a:lnTo>
                    <a:pt x="150" y="36"/>
                  </a:lnTo>
                  <a:lnTo>
                    <a:pt x="160" y="43"/>
                  </a:lnTo>
                  <a:lnTo>
                    <a:pt x="170" y="50"/>
                  </a:lnTo>
                  <a:lnTo>
                    <a:pt x="180" y="56"/>
                  </a:lnTo>
                  <a:lnTo>
                    <a:pt x="182" y="61"/>
                  </a:lnTo>
                  <a:lnTo>
                    <a:pt x="189" y="65"/>
                  </a:lnTo>
                  <a:lnTo>
                    <a:pt x="191" y="68"/>
                  </a:lnTo>
                  <a:lnTo>
                    <a:pt x="198" y="70"/>
                  </a:lnTo>
                  <a:lnTo>
                    <a:pt x="199" y="72"/>
                  </a:lnTo>
                  <a:lnTo>
                    <a:pt x="209" y="75"/>
                  </a:lnTo>
                  <a:lnTo>
                    <a:pt x="211" y="82"/>
                  </a:lnTo>
                  <a:lnTo>
                    <a:pt x="209" y="87"/>
                  </a:lnTo>
                  <a:lnTo>
                    <a:pt x="211" y="89"/>
                  </a:lnTo>
                  <a:lnTo>
                    <a:pt x="223" y="85"/>
                  </a:lnTo>
                  <a:lnTo>
                    <a:pt x="223" y="97"/>
                  </a:lnTo>
                  <a:lnTo>
                    <a:pt x="223" y="107"/>
                  </a:lnTo>
                  <a:lnTo>
                    <a:pt x="223" y="119"/>
                  </a:lnTo>
                  <a:lnTo>
                    <a:pt x="223" y="131"/>
                  </a:lnTo>
                  <a:lnTo>
                    <a:pt x="220" y="131"/>
                  </a:lnTo>
                  <a:lnTo>
                    <a:pt x="215" y="140"/>
                  </a:lnTo>
                  <a:lnTo>
                    <a:pt x="199" y="140"/>
                  </a:lnTo>
                  <a:lnTo>
                    <a:pt x="184" y="140"/>
                  </a:lnTo>
                  <a:lnTo>
                    <a:pt x="179" y="145"/>
                  </a:lnTo>
                  <a:lnTo>
                    <a:pt x="169" y="145"/>
                  </a:lnTo>
                  <a:lnTo>
                    <a:pt x="155" y="148"/>
                  </a:lnTo>
                  <a:lnTo>
                    <a:pt x="133" y="165"/>
                  </a:lnTo>
                  <a:lnTo>
                    <a:pt x="112" y="171"/>
                  </a:lnTo>
                  <a:lnTo>
                    <a:pt x="107" y="184"/>
                  </a:lnTo>
                  <a:lnTo>
                    <a:pt x="97" y="194"/>
                  </a:lnTo>
                  <a:lnTo>
                    <a:pt x="95" y="201"/>
                  </a:lnTo>
                  <a:lnTo>
                    <a:pt x="95" y="211"/>
                  </a:lnTo>
                  <a:lnTo>
                    <a:pt x="92" y="211"/>
                  </a:lnTo>
                  <a:lnTo>
                    <a:pt x="90" y="210"/>
                  </a:lnTo>
                  <a:lnTo>
                    <a:pt x="87" y="210"/>
                  </a:lnTo>
                  <a:lnTo>
                    <a:pt x="83" y="211"/>
                  </a:lnTo>
                  <a:lnTo>
                    <a:pt x="82" y="211"/>
                  </a:lnTo>
                  <a:lnTo>
                    <a:pt x="80" y="205"/>
                  </a:lnTo>
                  <a:lnTo>
                    <a:pt x="78" y="205"/>
                  </a:lnTo>
                  <a:lnTo>
                    <a:pt x="78" y="208"/>
                  </a:lnTo>
                  <a:lnTo>
                    <a:pt x="75" y="206"/>
                  </a:lnTo>
                  <a:lnTo>
                    <a:pt x="75" y="210"/>
                  </a:lnTo>
                  <a:lnTo>
                    <a:pt x="70" y="211"/>
                  </a:lnTo>
                  <a:lnTo>
                    <a:pt x="70" y="213"/>
                  </a:lnTo>
                  <a:lnTo>
                    <a:pt x="66" y="211"/>
                  </a:lnTo>
                  <a:lnTo>
                    <a:pt x="64" y="211"/>
                  </a:lnTo>
                  <a:lnTo>
                    <a:pt x="63" y="208"/>
                  </a:lnTo>
                  <a:lnTo>
                    <a:pt x="56" y="213"/>
                  </a:lnTo>
                  <a:lnTo>
                    <a:pt x="53" y="208"/>
                  </a:lnTo>
                  <a:lnTo>
                    <a:pt x="51" y="201"/>
                  </a:lnTo>
                  <a:lnTo>
                    <a:pt x="49" y="201"/>
                  </a:lnTo>
                  <a:lnTo>
                    <a:pt x="47" y="203"/>
                  </a:lnTo>
                  <a:lnTo>
                    <a:pt x="47" y="200"/>
                  </a:lnTo>
                  <a:lnTo>
                    <a:pt x="51" y="198"/>
                  </a:lnTo>
                  <a:lnTo>
                    <a:pt x="51" y="196"/>
                  </a:lnTo>
                  <a:lnTo>
                    <a:pt x="47" y="194"/>
                  </a:lnTo>
                  <a:lnTo>
                    <a:pt x="47" y="191"/>
                  </a:lnTo>
                  <a:lnTo>
                    <a:pt x="46" y="193"/>
                  </a:lnTo>
                  <a:lnTo>
                    <a:pt x="46" y="188"/>
                  </a:lnTo>
                  <a:lnTo>
                    <a:pt x="44" y="184"/>
                  </a:lnTo>
                  <a:lnTo>
                    <a:pt x="42" y="184"/>
                  </a:lnTo>
                  <a:lnTo>
                    <a:pt x="42" y="181"/>
                  </a:lnTo>
                  <a:lnTo>
                    <a:pt x="37" y="181"/>
                  </a:lnTo>
                  <a:lnTo>
                    <a:pt x="37" y="183"/>
                  </a:lnTo>
                  <a:lnTo>
                    <a:pt x="34" y="184"/>
                  </a:lnTo>
                  <a:lnTo>
                    <a:pt x="32" y="188"/>
                  </a:lnTo>
                  <a:lnTo>
                    <a:pt x="25" y="184"/>
                  </a:lnTo>
                  <a:lnTo>
                    <a:pt x="20" y="188"/>
                  </a:lnTo>
                  <a:lnTo>
                    <a:pt x="17" y="184"/>
                  </a:lnTo>
                  <a:lnTo>
                    <a:pt x="12" y="188"/>
                  </a:lnTo>
                  <a:lnTo>
                    <a:pt x="10" y="186"/>
                  </a:lnTo>
                  <a:lnTo>
                    <a:pt x="8" y="186"/>
                  </a:lnTo>
                  <a:lnTo>
                    <a:pt x="12" y="181"/>
                  </a:lnTo>
                  <a:lnTo>
                    <a:pt x="12" y="174"/>
                  </a:lnTo>
                  <a:lnTo>
                    <a:pt x="8" y="167"/>
                  </a:lnTo>
                  <a:lnTo>
                    <a:pt x="3" y="167"/>
                  </a:lnTo>
                  <a:lnTo>
                    <a:pt x="1" y="164"/>
                  </a:lnTo>
                  <a:lnTo>
                    <a:pt x="3" y="160"/>
                  </a:lnTo>
                  <a:lnTo>
                    <a:pt x="1" y="155"/>
                  </a:lnTo>
                  <a:lnTo>
                    <a:pt x="0" y="154"/>
                  </a:lnTo>
                  <a:lnTo>
                    <a:pt x="0" y="148"/>
                  </a:lnTo>
                  <a:lnTo>
                    <a:pt x="5" y="143"/>
                  </a:lnTo>
                  <a:lnTo>
                    <a:pt x="10" y="133"/>
                  </a:lnTo>
                  <a:lnTo>
                    <a:pt x="13" y="135"/>
                  </a:lnTo>
                  <a:lnTo>
                    <a:pt x="17" y="142"/>
                  </a:lnTo>
                  <a:lnTo>
                    <a:pt x="20" y="143"/>
                  </a:lnTo>
                  <a:lnTo>
                    <a:pt x="27" y="138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8" name="Freeform 184">
              <a:extLst>
                <a:ext uri="{FF2B5EF4-FFF2-40B4-BE49-F238E27FC236}">
                  <a16:creationId xmlns:a16="http://schemas.microsoft.com/office/drawing/2014/main" id="{1E44A3FC-C54C-3340-BD60-8628A215A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365" y="2559426"/>
              <a:ext cx="55469" cy="38036"/>
            </a:xfrm>
            <a:custGeom>
              <a:avLst/>
              <a:gdLst/>
              <a:ahLst/>
              <a:cxnLst>
                <a:cxn ang="0">
                  <a:pos x="36" y="77"/>
                </a:cxn>
                <a:cxn ang="0">
                  <a:pos x="34" y="66"/>
                </a:cxn>
                <a:cxn ang="0">
                  <a:pos x="31" y="61"/>
                </a:cxn>
                <a:cxn ang="0">
                  <a:pos x="33" y="56"/>
                </a:cxn>
                <a:cxn ang="0">
                  <a:pos x="60" y="58"/>
                </a:cxn>
                <a:cxn ang="0">
                  <a:pos x="70" y="56"/>
                </a:cxn>
                <a:cxn ang="0">
                  <a:pos x="75" y="58"/>
                </a:cxn>
                <a:cxn ang="0">
                  <a:pos x="79" y="58"/>
                </a:cxn>
                <a:cxn ang="0">
                  <a:pos x="84" y="56"/>
                </a:cxn>
                <a:cxn ang="0">
                  <a:pos x="91" y="49"/>
                </a:cxn>
                <a:cxn ang="0">
                  <a:pos x="99" y="49"/>
                </a:cxn>
                <a:cxn ang="0">
                  <a:pos x="104" y="43"/>
                </a:cxn>
                <a:cxn ang="0">
                  <a:pos x="101" y="39"/>
                </a:cxn>
                <a:cxn ang="0">
                  <a:pos x="101" y="38"/>
                </a:cxn>
                <a:cxn ang="0">
                  <a:pos x="103" y="36"/>
                </a:cxn>
                <a:cxn ang="0">
                  <a:pos x="101" y="32"/>
                </a:cxn>
                <a:cxn ang="0">
                  <a:pos x="97" y="32"/>
                </a:cxn>
                <a:cxn ang="0">
                  <a:pos x="94" y="34"/>
                </a:cxn>
                <a:cxn ang="0">
                  <a:pos x="91" y="32"/>
                </a:cxn>
                <a:cxn ang="0">
                  <a:pos x="84" y="22"/>
                </a:cxn>
                <a:cxn ang="0">
                  <a:pos x="75" y="15"/>
                </a:cxn>
                <a:cxn ang="0">
                  <a:pos x="75" y="10"/>
                </a:cxn>
                <a:cxn ang="0">
                  <a:pos x="72" y="7"/>
                </a:cxn>
                <a:cxn ang="0">
                  <a:pos x="74" y="0"/>
                </a:cxn>
                <a:cxn ang="0">
                  <a:pos x="60" y="3"/>
                </a:cxn>
                <a:cxn ang="0">
                  <a:pos x="38" y="20"/>
                </a:cxn>
                <a:cxn ang="0">
                  <a:pos x="17" y="26"/>
                </a:cxn>
                <a:cxn ang="0">
                  <a:pos x="12" y="39"/>
                </a:cxn>
                <a:cxn ang="0">
                  <a:pos x="2" y="49"/>
                </a:cxn>
                <a:cxn ang="0">
                  <a:pos x="0" y="56"/>
                </a:cxn>
                <a:cxn ang="0">
                  <a:pos x="0" y="66"/>
                </a:cxn>
                <a:cxn ang="0">
                  <a:pos x="4" y="72"/>
                </a:cxn>
                <a:cxn ang="0">
                  <a:pos x="7" y="75"/>
                </a:cxn>
                <a:cxn ang="0">
                  <a:pos x="9" y="73"/>
                </a:cxn>
                <a:cxn ang="0">
                  <a:pos x="12" y="75"/>
                </a:cxn>
                <a:cxn ang="0">
                  <a:pos x="12" y="73"/>
                </a:cxn>
                <a:cxn ang="0">
                  <a:pos x="22" y="70"/>
                </a:cxn>
                <a:cxn ang="0">
                  <a:pos x="26" y="72"/>
                </a:cxn>
                <a:cxn ang="0">
                  <a:pos x="27" y="70"/>
                </a:cxn>
                <a:cxn ang="0">
                  <a:pos x="33" y="77"/>
                </a:cxn>
                <a:cxn ang="0">
                  <a:pos x="36" y="77"/>
                </a:cxn>
              </a:cxnLst>
              <a:rect l="0" t="0" r="r" b="b"/>
              <a:pathLst>
                <a:path w="105" h="78">
                  <a:moveTo>
                    <a:pt x="36" y="77"/>
                  </a:moveTo>
                  <a:lnTo>
                    <a:pt x="34" y="66"/>
                  </a:lnTo>
                  <a:lnTo>
                    <a:pt x="31" y="61"/>
                  </a:lnTo>
                  <a:lnTo>
                    <a:pt x="33" y="56"/>
                  </a:lnTo>
                  <a:lnTo>
                    <a:pt x="60" y="58"/>
                  </a:lnTo>
                  <a:lnTo>
                    <a:pt x="70" y="56"/>
                  </a:lnTo>
                  <a:lnTo>
                    <a:pt x="75" y="58"/>
                  </a:lnTo>
                  <a:lnTo>
                    <a:pt x="79" y="58"/>
                  </a:lnTo>
                  <a:lnTo>
                    <a:pt x="84" y="56"/>
                  </a:lnTo>
                  <a:lnTo>
                    <a:pt x="91" y="49"/>
                  </a:lnTo>
                  <a:lnTo>
                    <a:pt x="99" y="49"/>
                  </a:lnTo>
                  <a:lnTo>
                    <a:pt x="104" y="43"/>
                  </a:lnTo>
                  <a:lnTo>
                    <a:pt x="101" y="39"/>
                  </a:lnTo>
                  <a:lnTo>
                    <a:pt x="101" y="38"/>
                  </a:lnTo>
                  <a:lnTo>
                    <a:pt x="103" y="36"/>
                  </a:lnTo>
                  <a:lnTo>
                    <a:pt x="101" y="32"/>
                  </a:lnTo>
                  <a:lnTo>
                    <a:pt x="97" y="32"/>
                  </a:lnTo>
                  <a:lnTo>
                    <a:pt x="94" y="34"/>
                  </a:lnTo>
                  <a:lnTo>
                    <a:pt x="91" y="32"/>
                  </a:lnTo>
                  <a:lnTo>
                    <a:pt x="84" y="22"/>
                  </a:lnTo>
                  <a:lnTo>
                    <a:pt x="75" y="15"/>
                  </a:lnTo>
                  <a:lnTo>
                    <a:pt x="75" y="10"/>
                  </a:lnTo>
                  <a:lnTo>
                    <a:pt x="72" y="7"/>
                  </a:lnTo>
                  <a:lnTo>
                    <a:pt x="74" y="0"/>
                  </a:lnTo>
                  <a:lnTo>
                    <a:pt x="60" y="3"/>
                  </a:lnTo>
                  <a:lnTo>
                    <a:pt x="38" y="20"/>
                  </a:lnTo>
                  <a:lnTo>
                    <a:pt x="17" y="26"/>
                  </a:lnTo>
                  <a:lnTo>
                    <a:pt x="12" y="39"/>
                  </a:lnTo>
                  <a:lnTo>
                    <a:pt x="2" y="49"/>
                  </a:lnTo>
                  <a:lnTo>
                    <a:pt x="0" y="56"/>
                  </a:lnTo>
                  <a:lnTo>
                    <a:pt x="0" y="66"/>
                  </a:lnTo>
                  <a:lnTo>
                    <a:pt x="4" y="72"/>
                  </a:lnTo>
                  <a:lnTo>
                    <a:pt x="7" y="75"/>
                  </a:lnTo>
                  <a:lnTo>
                    <a:pt x="9" y="73"/>
                  </a:lnTo>
                  <a:lnTo>
                    <a:pt x="12" y="75"/>
                  </a:lnTo>
                  <a:lnTo>
                    <a:pt x="12" y="73"/>
                  </a:lnTo>
                  <a:lnTo>
                    <a:pt x="22" y="70"/>
                  </a:lnTo>
                  <a:lnTo>
                    <a:pt x="26" y="72"/>
                  </a:lnTo>
                  <a:lnTo>
                    <a:pt x="27" y="70"/>
                  </a:lnTo>
                  <a:lnTo>
                    <a:pt x="33" y="77"/>
                  </a:lnTo>
                  <a:lnTo>
                    <a:pt x="36" y="77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9" name="Freeform 185">
              <a:extLst>
                <a:ext uri="{FF2B5EF4-FFF2-40B4-BE49-F238E27FC236}">
                  <a16:creationId xmlns:a16="http://schemas.microsoft.com/office/drawing/2014/main" id="{DF68094A-3B3F-784A-BEF3-016DB56F3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8467" y="2633547"/>
              <a:ext cx="39621" cy="37061"/>
            </a:xfrm>
            <a:custGeom>
              <a:avLst/>
              <a:gdLst/>
              <a:ahLst/>
              <a:cxnLst>
                <a:cxn ang="0">
                  <a:pos x="11" y="39"/>
                </a:cxn>
                <a:cxn ang="0">
                  <a:pos x="11" y="41"/>
                </a:cxn>
                <a:cxn ang="0">
                  <a:pos x="14" y="42"/>
                </a:cxn>
                <a:cxn ang="0">
                  <a:pos x="17" y="36"/>
                </a:cxn>
                <a:cxn ang="0">
                  <a:pos x="22" y="34"/>
                </a:cxn>
                <a:cxn ang="0">
                  <a:pos x="24" y="30"/>
                </a:cxn>
                <a:cxn ang="0">
                  <a:pos x="22" y="27"/>
                </a:cxn>
                <a:cxn ang="0">
                  <a:pos x="22" y="25"/>
                </a:cxn>
                <a:cxn ang="0">
                  <a:pos x="17" y="24"/>
                </a:cxn>
                <a:cxn ang="0">
                  <a:pos x="16" y="20"/>
                </a:cxn>
                <a:cxn ang="0">
                  <a:pos x="17" y="7"/>
                </a:cxn>
                <a:cxn ang="0">
                  <a:pos x="19" y="5"/>
                </a:cxn>
                <a:cxn ang="0">
                  <a:pos x="31" y="5"/>
                </a:cxn>
                <a:cxn ang="0">
                  <a:pos x="33" y="7"/>
                </a:cxn>
                <a:cxn ang="0">
                  <a:pos x="43" y="5"/>
                </a:cxn>
                <a:cxn ang="0">
                  <a:pos x="51" y="5"/>
                </a:cxn>
                <a:cxn ang="0">
                  <a:pos x="58" y="0"/>
                </a:cxn>
                <a:cxn ang="0">
                  <a:pos x="63" y="3"/>
                </a:cxn>
                <a:cxn ang="0">
                  <a:pos x="67" y="13"/>
                </a:cxn>
                <a:cxn ang="0">
                  <a:pos x="72" y="19"/>
                </a:cxn>
                <a:cxn ang="0">
                  <a:pos x="74" y="27"/>
                </a:cxn>
                <a:cxn ang="0">
                  <a:pos x="72" y="36"/>
                </a:cxn>
                <a:cxn ang="0">
                  <a:pos x="58" y="53"/>
                </a:cxn>
                <a:cxn ang="0">
                  <a:pos x="58" y="54"/>
                </a:cxn>
                <a:cxn ang="0">
                  <a:pos x="57" y="53"/>
                </a:cxn>
                <a:cxn ang="0">
                  <a:pos x="55" y="54"/>
                </a:cxn>
                <a:cxn ang="0">
                  <a:pos x="51" y="53"/>
                </a:cxn>
                <a:cxn ang="0">
                  <a:pos x="50" y="51"/>
                </a:cxn>
                <a:cxn ang="0">
                  <a:pos x="46" y="56"/>
                </a:cxn>
                <a:cxn ang="0">
                  <a:pos x="45" y="54"/>
                </a:cxn>
                <a:cxn ang="0">
                  <a:pos x="41" y="54"/>
                </a:cxn>
                <a:cxn ang="0">
                  <a:pos x="40" y="54"/>
                </a:cxn>
                <a:cxn ang="0">
                  <a:pos x="40" y="56"/>
                </a:cxn>
                <a:cxn ang="0">
                  <a:pos x="38" y="54"/>
                </a:cxn>
                <a:cxn ang="0">
                  <a:pos x="36" y="56"/>
                </a:cxn>
                <a:cxn ang="0">
                  <a:pos x="33" y="58"/>
                </a:cxn>
                <a:cxn ang="0">
                  <a:pos x="31" y="58"/>
                </a:cxn>
                <a:cxn ang="0">
                  <a:pos x="31" y="59"/>
                </a:cxn>
                <a:cxn ang="0">
                  <a:pos x="31" y="61"/>
                </a:cxn>
                <a:cxn ang="0">
                  <a:pos x="28" y="68"/>
                </a:cxn>
                <a:cxn ang="0">
                  <a:pos x="29" y="70"/>
                </a:cxn>
                <a:cxn ang="0">
                  <a:pos x="11" y="70"/>
                </a:cxn>
                <a:cxn ang="0">
                  <a:pos x="7" y="71"/>
                </a:cxn>
                <a:cxn ang="0">
                  <a:pos x="5" y="75"/>
                </a:cxn>
                <a:cxn ang="0">
                  <a:pos x="0" y="73"/>
                </a:cxn>
                <a:cxn ang="0">
                  <a:pos x="0" y="61"/>
                </a:cxn>
                <a:cxn ang="0">
                  <a:pos x="2" y="58"/>
                </a:cxn>
                <a:cxn ang="0">
                  <a:pos x="4" y="51"/>
                </a:cxn>
                <a:cxn ang="0">
                  <a:pos x="11" y="39"/>
                </a:cxn>
              </a:cxnLst>
              <a:rect l="0" t="0" r="r" b="b"/>
              <a:pathLst>
                <a:path w="75" h="76">
                  <a:moveTo>
                    <a:pt x="11" y="39"/>
                  </a:moveTo>
                  <a:lnTo>
                    <a:pt x="11" y="41"/>
                  </a:lnTo>
                  <a:lnTo>
                    <a:pt x="14" y="42"/>
                  </a:lnTo>
                  <a:lnTo>
                    <a:pt x="17" y="36"/>
                  </a:lnTo>
                  <a:lnTo>
                    <a:pt x="22" y="34"/>
                  </a:lnTo>
                  <a:lnTo>
                    <a:pt x="24" y="30"/>
                  </a:lnTo>
                  <a:lnTo>
                    <a:pt x="22" y="27"/>
                  </a:lnTo>
                  <a:lnTo>
                    <a:pt x="22" y="25"/>
                  </a:lnTo>
                  <a:lnTo>
                    <a:pt x="17" y="24"/>
                  </a:lnTo>
                  <a:lnTo>
                    <a:pt x="16" y="20"/>
                  </a:lnTo>
                  <a:lnTo>
                    <a:pt x="17" y="7"/>
                  </a:lnTo>
                  <a:lnTo>
                    <a:pt x="19" y="5"/>
                  </a:lnTo>
                  <a:lnTo>
                    <a:pt x="31" y="5"/>
                  </a:lnTo>
                  <a:lnTo>
                    <a:pt x="33" y="7"/>
                  </a:lnTo>
                  <a:lnTo>
                    <a:pt x="43" y="5"/>
                  </a:lnTo>
                  <a:lnTo>
                    <a:pt x="51" y="5"/>
                  </a:lnTo>
                  <a:lnTo>
                    <a:pt x="58" y="0"/>
                  </a:lnTo>
                  <a:lnTo>
                    <a:pt x="63" y="3"/>
                  </a:lnTo>
                  <a:lnTo>
                    <a:pt x="67" y="13"/>
                  </a:lnTo>
                  <a:lnTo>
                    <a:pt x="72" y="19"/>
                  </a:lnTo>
                  <a:lnTo>
                    <a:pt x="74" y="27"/>
                  </a:lnTo>
                  <a:lnTo>
                    <a:pt x="72" y="36"/>
                  </a:lnTo>
                  <a:lnTo>
                    <a:pt x="58" y="53"/>
                  </a:lnTo>
                  <a:lnTo>
                    <a:pt x="58" y="54"/>
                  </a:lnTo>
                  <a:lnTo>
                    <a:pt x="57" y="53"/>
                  </a:lnTo>
                  <a:lnTo>
                    <a:pt x="55" y="54"/>
                  </a:lnTo>
                  <a:lnTo>
                    <a:pt x="51" y="53"/>
                  </a:lnTo>
                  <a:lnTo>
                    <a:pt x="50" y="51"/>
                  </a:lnTo>
                  <a:lnTo>
                    <a:pt x="46" y="56"/>
                  </a:lnTo>
                  <a:lnTo>
                    <a:pt x="45" y="54"/>
                  </a:lnTo>
                  <a:lnTo>
                    <a:pt x="41" y="54"/>
                  </a:lnTo>
                  <a:lnTo>
                    <a:pt x="40" y="54"/>
                  </a:lnTo>
                  <a:lnTo>
                    <a:pt x="40" y="56"/>
                  </a:lnTo>
                  <a:lnTo>
                    <a:pt x="38" y="54"/>
                  </a:lnTo>
                  <a:lnTo>
                    <a:pt x="36" y="56"/>
                  </a:lnTo>
                  <a:lnTo>
                    <a:pt x="33" y="58"/>
                  </a:lnTo>
                  <a:lnTo>
                    <a:pt x="31" y="58"/>
                  </a:lnTo>
                  <a:lnTo>
                    <a:pt x="31" y="59"/>
                  </a:lnTo>
                  <a:lnTo>
                    <a:pt x="31" y="61"/>
                  </a:lnTo>
                  <a:lnTo>
                    <a:pt x="28" y="68"/>
                  </a:lnTo>
                  <a:lnTo>
                    <a:pt x="29" y="70"/>
                  </a:lnTo>
                  <a:lnTo>
                    <a:pt x="11" y="70"/>
                  </a:lnTo>
                  <a:lnTo>
                    <a:pt x="7" y="71"/>
                  </a:lnTo>
                  <a:lnTo>
                    <a:pt x="5" y="75"/>
                  </a:lnTo>
                  <a:lnTo>
                    <a:pt x="0" y="73"/>
                  </a:lnTo>
                  <a:lnTo>
                    <a:pt x="0" y="61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11" y="39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0" name="Freeform 186">
              <a:extLst>
                <a:ext uri="{FF2B5EF4-FFF2-40B4-BE49-F238E27FC236}">
                  <a16:creationId xmlns:a16="http://schemas.microsoft.com/office/drawing/2014/main" id="{454FD965-DFE3-DD4F-B3BC-2152EE1CB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884" y="2502859"/>
              <a:ext cx="121504" cy="134589"/>
            </a:xfrm>
            <a:custGeom>
              <a:avLst/>
              <a:gdLst/>
              <a:ahLst/>
              <a:cxnLst>
                <a:cxn ang="0">
                  <a:pos x="31" y="65"/>
                </a:cxn>
                <a:cxn ang="0">
                  <a:pos x="31" y="92"/>
                </a:cxn>
                <a:cxn ang="0">
                  <a:pos x="15" y="107"/>
                </a:cxn>
                <a:cxn ang="0">
                  <a:pos x="7" y="123"/>
                </a:cxn>
                <a:cxn ang="0">
                  <a:pos x="4" y="133"/>
                </a:cxn>
                <a:cxn ang="0">
                  <a:pos x="2" y="145"/>
                </a:cxn>
                <a:cxn ang="0">
                  <a:pos x="7" y="147"/>
                </a:cxn>
                <a:cxn ang="0">
                  <a:pos x="15" y="169"/>
                </a:cxn>
                <a:cxn ang="0">
                  <a:pos x="12" y="172"/>
                </a:cxn>
                <a:cxn ang="0">
                  <a:pos x="24" y="189"/>
                </a:cxn>
                <a:cxn ang="0">
                  <a:pos x="26" y="205"/>
                </a:cxn>
                <a:cxn ang="0">
                  <a:pos x="33" y="210"/>
                </a:cxn>
                <a:cxn ang="0">
                  <a:pos x="46" y="213"/>
                </a:cxn>
                <a:cxn ang="0">
                  <a:pos x="62" y="230"/>
                </a:cxn>
                <a:cxn ang="0">
                  <a:pos x="77" y="246"/>
                </a:cxn>
                <a:cxn ang="0">
                  <a:pos x="87" y="263"/>
                </a:cxn>
                <a:cxn ang="0">
                  <a:pos x="96" y="263"/>
                </a:cxn>
                <a:cxn ang="0">
                  <a:pos x="108" y="261"/>
                </a:cxn>
                <a:cxn ang="0">
                  <a:pos x="126" y="275"/>
                </a:cxn>
                <a:cxn ang="0">
                  <a:pos x="140" y="273"/>
                </a:cxn>
                <a:cxn ang="0">
                  <a:pos x="152" y="273"/>
                </a:cxn>
                <a:cxn ang="0">
                  <a:pos x="167" y="268"/>
                </a:cxn>
                <a:cxn ang="0">
                  <a:pos x="193" y="261"/>
                </a:cxn>
                <a:cxn ang="0">
                  <a:pos x="184" y="247"/>
                </a:cxn>
                <a:cxn ang="0">
                  <a:pos x="171" y="227"/>
                </a:cxn>
                <a:cxn ang="0">
                  <a:pos x="154" y="217"/>
                </a:cxn>
                <a:cxn ang="0">
                  <a:pos x="157" y="210"/>
                </a:cxn>
                <a:cxn ang="0">
                  <a:pos x="169" y="206"/>
                </a:cxn>
                <a:cxn ang="0">
                  <a:pos x="172" y="181"/>
                </a:cxn>
                <a:cxn ang="0">
                  <a:pos x="181" y="172"/>
                </a:cxn>
                <a:cxn ang="0">
                  <a:pos x="191" y="150"/>
                </a:cxn>
                <a:cxn ang="0">
                  <a:pos x="201" y="131"/>
                </a:cxn>
                <a:cxn ang="0">
                  <a:pos x="201" y="118"/>
                </a:cxn>
                <a:cxn ang="0">
                  <a:pos x="213" y="87"/>
                </a:cxn>
                <a:cxn ang="0">
                  <a:pos x="227" y="78"/>
                </a:cxn>
                <a:cxn ang="0">
                  <a:pos x="229" y="70"/>
                </a:cxn>
                <a:cxn ang="0">
                  <a:pos x="222" y="67"/>
                </a:cxn>
                <a:cxn ang="0">
                  <a:pos x="213" y="60"/>
                </a:cxn>
                <a:cxn ang="0">
                  <a:pos x="212" y="29"/>
                </a:cxn>
                <a:cxn ang="0">
                  <a:pos x="207" y="15"/>
                </a:cxn>
                <a:cxn ang="0">
                  <a:pos x="193" y="3"/>
                </a:cxn>
                <a:cxn ang="0">
                  <a:pos x="184" y="3"/>
                </a:cxn>
                <a:cxn ang="0">
                  <a:pos x="178" y="10"/>
                </a:cxn>
                <a:cxn ang="0">
                  <a:pos x="167" y="19"/>
                </a:cxn>
                <a:cxn ang="0">
                  <a:pos x="157" y="15"/>
                </a:cxn>
                <a:cxn ang="0">
                  <a:pos x="131" y="15"/>
                </a:cxn>
                <a:cxn ang="0">
                  <a:pos x="131" y="12"/>
                </a:cxn>
                <a:cxn ang="0">
                  <a:pos x="120" y="15"/>
                </a:cxn>
                <a:cxn ang="0">
                  <a:pos x="97" y="15"/>
                </a:cxn>
                <a:cxn ang="0">
                  <a:pos x="77" y="15"/>
                </a:cxn>
                <a:cxn ang="0">
                  <a:pos x="55" y="15"/>
                </a:cxn>
                <a:cxn ang="0">
                  <a:pos x="44" y="29"/>
                </a:cxn>
                <a:cxn ang="0">
                  <a:pos x="31" y="44"/>
                </a:cxn>
              </a:cxnLst>
              <a:rect l="0" t="0" r="r" b="b"/>
              <a:pathLst>
                <a:path w="230" h="276">
                  <a:moveTo>
                    <a:pt x="31" y="53"/>
                  </a:moveTo>
                  <a:lnTo>
                    <a:pt x="31" y="65"/>
                  </a:lnTo>
                  <a:lnTo>
                    <a:pt x="31" y="78"/>
                  </a:lnTo>
                  <a:lnTo>
                    <a:pt x="31" y="92"/>
                  </a:lnTo>
                  <a:lnTo>
                    <a:pt x="31" y="106"/>
                  </a:lnTo>
                  <a:lnTo>
                    <a:pt x="15" y="107"/>
                  </a:lnTo>
                  <a:lnTo>
                    <a:pt x="14" y="114"/>
                  </a:lnTo>
                  <a:lnTo>
                    <a:pt x="7" y="123"/>
                  </a:lnTo>
                  <a:lnTo>
                    <a:pt x="7" y="130"/>
                  </a:lnTo>
                  <a:lnTo>
                    <a:pt x="4" y="133"/>
                  </a:lnTo>
                  <a:lnTo>
                    <a:pt x="4" y="138"/>
                  </a:lnTo>
                  <a:lnTo>
                    <a:pt x="2" y="145"/>
                  </a:lnTo>
                  <a:lnTo>
                    <a:pt x="0" y="148"/>
                  </a:lnTo>
                  <a:lnTo>
                    <a:pt x="7" y="147"/>
                  </a:lnTo>
                  <a:lnTo>
                    <a:pt x="9" y="155"/>
                  </a:lnTo>
                  <a:lnTo>
                    <a:pt x="15" y="169"/>
                  </a:lnTo>
                  <a:lnTo>
                    <a:pt x="15" y="171"/>
                  </a:lnTo>
                  <a:lnTo>
                    <a:pt x="12" y="172"/>
                  </a:lnTo>
                  <a:lnTo>
                    <a:pt x="24" y="186"/>
                  </a:lnTo>
                  <a:lnTo>
                    <a:pt x="24" y="189"/>
                  </a:lnTo>
                  <a:lnTo>
                    <a:pt x="24" y="201"/>
                  </a:lnTo>
                  <a:lnTo>
                    <a:pt x="26" y="205"/>
                  </a:lnTo>
                  <a:lnTo>
                    <a:pt x="33" y="205"/>
                  </a:lnTo>
                  <a:lnTo>
                    <a:pt x="33" y="210"/>
                  </a:lnTo>
                  <a:lnTo>
                    <a:pt x="41" y="210"/>
                  </a:lnTo>
                  <a:lnTo>
                    <a:pt x="46" y="213"/>
                  </a:lnTo>
                  <a:lnTo>
                    <a:pt x="48" y="220"/>
                  </a:lnTo>
                  <a:lnTo>
                    <a:pt x="62" y="230"/>
                  </a:lnTo>
                  <a:lnTo>
                    <a:pt x="67" y="240"/>
                  </a:lnTo>
                  <a:lnTo>
                    <a:pt x="77" y="246"/>
                  </a:lnTo>
                  <a:lnTo>
                    <a:pt x="79" y="252"/>
                  </a:lnTo>
                  <a:lnTo>
                    <a:pt x="87" y="263"/>
                  </a:lnTo>
                  <a:lnTo>
                    <a:pt x="92" y="264"/>
                  </a:lnTo>
                  <a:lnTo>
                    <a:pt x="96" y="263"/>
                  </a:lnTo>
                  <a:lnTo>
                    <a:pt x="104" y="263"/>
                  </a:lnTo>
                  <a:lnTo>
                    <a:pt x="108" y="261"/>
                  </a:lnTo>
                  <a:lnTo>
                    <a:pt x="125" y="275"/>
                  </a:lnTo>
                  <a:lnTo>
                    <a:pt x="126" y="275"/>
                  </a:lnTo>
                  <a:lnTo>
                    <a:pt x="128" y="273"/>
                  </a:lnTo>
                  <a:lnTo>
                    <a:pt x="140" y="273"/>
                  </a:lnTo>
                  <a:lnTo>
                    <a:pt x="142" y="275"/>
                  </a:lnTo>
                  <a:lnTo>
                    <a:pt x="152" y="273"/>
                  </a:lnTo>
                  <a:lnTo>
                    <a:pt x="160" y="273"/>
                  </a:lnTo>
                  <a:lnTo>
                    <a:pt x="167" y="268"/>
                  </a:lnTo>
                  <a:lnTo>
                    <a:pt x="174" y="261"/>
                  </a:lnTo>
                  <a:lnTo>
                    <a:pt x="193" y="261"/>
                  </a:lnTo>
                  <a:lnTo>
                    <a:pt x="195" y="251"/>
                  </a:lnTo>
                  <a:lnTo>
                    <a:pt x="184" y="247"/>
                  </a:lnTo>
                  <a:lnTo>
                    <a:pt x="178" y="234"/>
                  </a:lnTo>
                  <a:lnTo>
                    <a:pt x="171" y="227"/>
                  </a:lnTo>
                  <a:lnTo>
                    <a:pt x="166" y="220"/>
                  </a:lnTo>
                  <a:lnTo>
                    <a:pt x="154" y="217"/>
                  </a:lnTo>
                  <a:lnTo>
                    <a:pt x="157" y="213"/>
                  </a:lnTo>
                  <a:lnTo>
                    <a:pt x="157" y="210"/>
                  </a:lnTo>
                  <a:lnTo>
                    <a:pt x="166" y="208"/>
                  </a:lnTo>
                  <a:lnTo>
                    <a:pt x="169" y="206"/>
                  </a:lnTo>
                  <a:lnTo>
                    <a:pt x="171" y="179"/>
                  </a:lnTo>
                  <a:lnTo>
                    <a:pt x="172" y="181"/>
                  </a:lnTo>
                  <a:lnTo>
                    <a:pt x="174" y="176"/>
                  </a:lnTo>
                  <a:lnTo>
                    <a:pt x="181" y="172"/>
                  </a:lnTo>
                  <a:lnTo>
                    <a:pt x="183" y="162"/>
                  </a:lnTo>
                  <a:lnTo>
                    <a:pt x="191" y="150"/>
                  </a:lnTo>
                  <a:lnTo>
                    <a:pt x="198" y="145"/>
                  </a:lnTo>
                  <a:lnTo>
                    <a:pt x="201" y="131"/>
                  </a:lnTo>
                  <a:lnTo>
                    <a:pt x="203" y="126"/>
                  </a:lnTo>
                  <a:lnTo>
                    <a:pt x="201" y="118"/>
                  </a:lnTo>
                  <a:lnTo>
                    <a:pt x="210" y="87"/>
                  </a:lnTo>
                  <a:lnTo>
                    <a:pt x="213" y="87"/>
                  </a:lnTo>
                  <a:lnTo>
                    <a:pt x="217" y="84"/>
                  </a:lnTo>
                  <a:lnTo>
                    <a:pt x="227" y="78"/>
                  </a:lnTo>
                  <a:lnTo>
                    <a:pt x="229" y="73"/>
                  </a:lnTo>
                  <a:lnTo>
                    <a:pt x="229" y="70"/>
                  </a:lnTo>
                  <a:lnTo>
                    <a:pt x="225" y="70"/>
                  </a:lnTo>
                  <a:lnTo>
                    <a:pt x="222" y="67"/>
                  </a:lnTo>
                  <a:lnTo>
                    <a:pt x="217" y="63"/>
                  </a:lnTo>
                  <a:lnTo>
                    <a:pt x="213" y="60"/>
                  </a:lnTo>
                  <a:lnTo>
                    <a:pt x="212" y="48"/>
                  </a:lnTo>
                  <a:lnTo>
                    <a:pt x="212" y="29"/>
                  </a:lnTo>
                  <a:lnTo>
                    <a:pt x="208" y="22"/>
                  </a:lnTo>
                  <a:lnTo>
                    <a:pt x="207" y="15"/>
                  </a:lnTo>
                  <a:lnTo>
                    <a:pt x="200" y="7"/>
                  </a:lnTo>
                  <a:lnTo>
                    <a:pt x="193" y="3"/>
                  </a:lnTo>
                  <a:lnTo>
                    <a:pt x="189" y="0"/>
                  </a:lnTo>
                  <a:lnTo>
                    <a:pt x="184" y="3"/>
                  </a:lnTo>
                  <a:lnTo>
                    <a:pt x="181" y="3"/>
                  </a:lnTo>
                  <a:lnTo>
                    <a:pt x="178" y="10"/>
                  </a:lnTo>
                  <a:lnTo>
                    <a:pt x="169" y="12"/>
                  </a:lnTo>
                  <a:lnTo>
                    <a:pt x="167" y="19"/>
                  </a:lnTo>
                  <a:lnTo>
                    <a:pt x="162" y="19"/>
                  </a:lnTo>
                  <a:lnTo>
                    <a:pt x="157" y="15"/>
                  </a:lnTo>
                  <a:lnTo>
                    <a:pt x="143" y="15"/>
                  </a:lnTo>
                  <a:lnTo>
                    <a:pt x="131" y="15"/>
                  </a:lnTo>
                  <a:lnTo>
                    <a:pt x="133" y="14"/>
                  </a:lnTo>
                  <a:lnTo>
                    <a:pt x="131" y="12"/>
                  </a:lnTo>
                  <a:lnTo>
                    <a:pt x="130" y="15"/>
                  </a:lnTo>
                  <a:lnTo>
                    <a:pt x="120" y="15"/>
                  </a:lnTo>
                  <a:lnTo>
                    <a:pt x="108" y="15"/>
                  </a:lnTo>
                  <a:lnTo>
                    <a:pt x="97" y="15"/>
                  </a:lnTo>
                  <a:lnTo>
                    <a:pt x="87" y="15"/>
                  </a:lnTo>
                  <a:lnTo>
                    <a:pt x="77" y="15"/>
                  </a:lnTo>
                  <a:lnTo>
                    <a:pt x="65" y="15"/>
                  </a:lnTo>
                  <a:lnTo>
                    <a:pt x="55" y="15"/>
                  </a:lnTo>
                  <a:lnTo>
                    <a:pt x="44" y="15"/>
                  </a:lnTo>
                  <a:lnTo>
                    <a:pt x="44" y="29"/>
                  </a:lnTo>
                  <a:lnTo>
                    <a:pt x="44" y="44"/>
                  </a:lnTo>
                  <a:lnTo>
                    <a:pt x="31" y="44"/>
                  </a:lnTo>
                  <a:lnTo>
                    <a:pt x="31" y="53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1" name="Freeform 187">
              <a:extLst>
                <a:ext uri="{FF2B5EF4-FFF2-40B4-BE49-F238E27FC236}">
                  <a16:creationId xmlns:a16="http://schemas.microsoft.com/office/drawing/2014/main" id="{EE386A06-7D46-094B-ABE5-3C4143131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0878" y="2580882"/>
              <a:ext cx="75015" cy="91189"/>
            </a:xfrm>
            <a:custGeom>
              <a:avLst/>
              <a:gdLst/>
              <a:ahLst/>
              <a:cxnLst>
                <a:cxn ang="0">
                  <a:pos x="85" y="67"/>
                </a:cxn>
                <a:cxn ang="0">
                  <a:pos x="64" y="87"/>
                </a:cxn>
                <a:cxn ang="0">
                  <a:pos x="39" y="96"/>
                </a:cxn>
                <a:cxn ang="0">
                  <a:pos x="25" y="104"/>
                </a:cxn>
                <a:cxn ang="0">
                  <a:pos x="15" y="108"/>
                </a:cxn>
                <a:cxn ang="0">
                  <a:pos x="6" y="120"/>
                </a:cxn>
                <a:cxn ang="0">
                  <a:pos x="0" y="138"/>
                </a:cxn>
                <a:cxn ang="0">
                  <a:pos x="0" y="164"/>
                </a:cxn>
                <a:cxn ang="0">
                  <a:pos x="6" y="186"/>
                </a:cxn>
                <a:cxn ang="0">
                  <a:pos x="22" y="166"/>
                </a:cxn>
                <a:cxn ang="0">
                  <a:pos x="35" y="157"/>
                </a:cxn>
                <a:cxn ang="0">
                  <a:pos x="66" y="135"/>
                </a:cxn>
                <a:cxn ang="0">
                  <a:pos x="92" y="109"/>
                </a:cxn>
                <a:cxn ang="0">
                  <a:pos x="107" y="87"/>
                </a:cxn>
                <a:cxn ang="0">
                  <a:pos x="121" y="60"/>
                </a:cxn>
                <a:cxn ang="0">
                  <a:pos x="124" y="51"/>
                </a:cxn>
                <a:cxn ang="0">
                  <a:pos x="134" y="24"/>
                </a:cxn>
                <a:cxn ang="0">
                  <a:pos x="139" y="21"/>
                </a:cxn>
                <a:cxn ang="0">
                  <a:pos x="139" y="19"/>
                </a:cxn>
                <a:cxn ang="0">
                  <a:pos x="138" y="9"/>
                </a:cxn>
                <a:cxn ang="0">
                  <a:pos x="133" y="0"/>
                </a:cxn>
                <a:cxn ang="0">
                  <a:pos x="112" y="9"/>
                </a:cxn>
                <a:cxn ang="0">
                  <a:pos x="104" y="9"/>
                </a:cxn>
                <a:cxn ang="0">
                  <a:pos x="87" y="12"/>
                </a:cxn>
                <a:cxn ang="0">
                  <a:pos x="64" y="16"/>
                </a:cxn>
                <a:cxn ang="0">
                  <a:pos x="47" y="22"/>
                </a:cxn>
                <a:cxn ang="0">
                  <a:pos x="30" y="7"/>
                </a:cxn>
                <a:cxn ang="0">
                  <a:pos x="23" y="17"/>
                </a:cxn>
                <a:cxn ang="0">
                  <a:pos x="35" y="34"/>
                </a:cxn>
                <a:cxn ang="0">
                  <a:pos x="52" y="43"/>
                </a:cxn>
                <a:cxn ang="0">
                  <a:pos x="73" y="51"/>
                </a:cxn>
                <a:cxn ang="0">
                  <a:pos x="97" y="53"/>
                </a:cxn>
              </a:cxnLst>
              <a:rect l="0" t="0" r="r" b="b"/>
              <a:pathLst>
                <a:path w="142" h="187">
                  <a:moveTo>
                    <a:pt x="93" y="58"/>
                  </a:moveTo>
                  <a:lnTo>
                    <a:pt x="85" y="67"/>
                  </a:lnTo>
                  <a:lnTo>
                    <a:pt x="75" y="77"/>
                  </a:lnTo>
                  <a:lnTo>
                    <a:pt x="64" y="87"/>
                  </a:lnTo>
                  <a:lnTo>
                    <a:pt x="56" y="96"/>
                  </a:lnTo>
                  <a:lnTo>
                    <a:pt x="39" y="96"/>
                  </a:lnTo>
                  <a:lnTo>
                    <a:pt x="32" y="99"/>
                  </a:lnTo>
                  <a:lnTo>
                    <a:pt x="25" y="104"/>
                  </a:lnTo>
                  <a:lnTo>
                    <a:pt x="17" y="108"/>
                  </a:lnTo>
                  <a:lnTo>
                    <a:pt x="15" y="108"/>
                  </a:lnTo>
                  <a:lnTo>
                    <a:pt x="12" y="111"/>
                  </a:lnTo>
                  <a:lnTo>
                    <a:pt x="6" y="120"/>
                  </a:lnTo>
                  <a:lnTo>
                    <a:pt x="0" y="127"/>
                  </a:lnTo>
                  <a:lnTo>
                    <a:pt x="0" y="138"/>
                  </a:lnTo>
                  <a:lnTo>
                    <a:pt x="0" y="150"/>
                  </a:lnTo>
                  <a:lnTo>
                    <a:pt x="0" y="164"/>
                  </a:lnTo>
                  <a:lnTo>
                    <a:pt x="0" y="176"/>
                  </a:lnTo>
                  <a:lnTo>
                    <a:pt x="6" y="186"/>
                  </a:lnTo>
                  <a:lnTo>
                    <a:pt x="20" y="171"/>
                  </a:lnTo>
                  <a:lnTo>
                    <a:pt x="22" y="166"/>
                  </a:lnTo>
                  <a:lnTo>
                    <a:pt x="25" y="166"/>
                  </a:lnTo>
                  <a:lnTo>
                    <a:pt x="35" y="157"/>
                  </a:lnTo>
                  <a:lnTo>
                    <a:pt x="54" y="140"/>
                  </a:lnTo>
                  <a:lnTo>
                    <a:pt x="66" y="135"/>
                  </a:lnTo>
                  <a:lnTo>
                    <a:pt x="75" y="125"/>
                  </a:lnTo>
                  <a:lnTo>
                    <a:pt x="92" y="109"/>
                  </a:lnTo>
                  <a:lnTo>
                    <a:pt x="99" y="96"/>
                  </a:lnTo>
                  <a:lnTo>
                    <a:pt x="107" y="87"/>
                  </a:lnTo>
                  <a:lnTo>
                    <a:pt x="112" y="75"/>
                  </a:lnTo>
                  <a:lnTo>
                    <a:pt x="121" y="60"/>
                  </a:lnTo>
                  <a:lnTo>
                    <a:pt x="121" y="55"/>
                  </a:lnTo>
                  <a:lnTo>
                    <a:pt x="124" y="51"/>
                  </a:lnTo>
                  <a:lnTo>
                    <a:pt x="133" y="40"/>
                  </a:lnTo>
                  <a:lnTo>
                    <a:pt x="134" y="24"/>
                  </a:lnTo>
                  <a:lnTo>
                    <a:pt x="141" y="22"/>
                  </a:lnTo>
                  <a:lnTo>
                    <a:pt x="139" y="21"/>
                  </a:lnTo>
                  <a:lnTo>
                    <a:pt x="136" y="22"/>
                  </a:lnTo>
                  <a:lnTo>
                    <a:pt x="139" y="19"/>
                  </a:lnTo>
                  <a:lnTo>
                    <a:pt x="139" y="12"/>
                  </a:lnTo>
                  <a:lnTo>
                    <a:pt x="138" y="9"/>
                  </a:lnTo>
                  <a:lnTo>
                    <a:pt x="139" y="2"/>
                  </a:lnTo>
                  <a:lnTo>
                    <a:pt x="133" y="0"/>
                  </a:lnTo>
                  <a:lnTo>
                    <a:pt x="124" y="5"/>
                  </a:lnTo>
                  <a:lnTo>
                    <a:pt x="112" y="9"/>
                  </a:lnTo>
                  <a:lnTo>
                    <a:pt x="107" y="11"/>
                  </a:lnTo>
                  <a:lnTo>
                    <a:pt x="104" y="9"/>
                  </a:lnTo>
                  <a:lnTo>
                    <a:pt x="99" y="12"/>
                  </a:lnTo>
                  <a:lnTo>
                    <a:pt x="87" y="12"/>
                  </a:lnTo>
                  <a:lnTo>
                    <a:pt x="75" y="17"/>
                  </a:lnTo>
                  <a:lnTo>
                    <a:pt x="64" y="16"/>
                  </a:lnTo>
                  <a:lnTo>
                    <a:pt x="54" y="21"/>
                  </a:lnTo>
                  <a:lnTo>
                    <a:pt x="47" y="22"/>
                  </a:lnTo>
                  <a:lnTo>
                    <a:pt x="42" y="19"/>
                  </a:lnTo>
                  <a:lnTo>
                    <a:pt x="30" y="7"/>
                  </a:lnTo>
                  <a:lnTo>
                    <a:pt x="25" y="14"/>
                  </a:lnTo>
                  <a:lnTo>
                    <a:pt x="23" y="17"/>
                  </a:lnTo>
                  <a:lnTo>
                    <a:pt x="25" y="22"/>
                  </a:lnTo>
                  <a:lnTo>
                    <a:pt x="35" y="34"/>
                  </a:lnTo>
                  <a:lnTo>
                    <a:pt x="42" y="40"/>
                  </a:lnTo>
                  <a:lnTo>
                    <a:pt x="52" y="43"/>
                  </a:lnTo>
                  <a:lnTo>
                    <a:pt x="63" y="46"/>
                  </a:lnTo>
                  <a:lnTo>
                    <a:pt x="73" y="51"/>
                  </a:lnTo>
                  <a:lnTo>
                    <a:pt x="83" y="55"/>
                  </a:lnTo>
                  <a:lnTo>
                    <a:pt x="97" y="53"/>
                  </a:lnTo>
                  <a:lnTo>
                    <a:pt x="93" y="58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2" name="Freeform 188">
              <a:extLst>
                <a:ext uri="{FF2B5EF4-FFF2-40B4-BE49-F238E27FC236}">
                  <a16:creationId xmlns:a16="http://schemas.microsoft.com/office/drawing/2014/main" id="{1205DB67-9529-624C-8716-C0022AAAE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2239" y="2560889"/>
              <a:ext cx="110410" cy="77047"/>
            </a:xfrm>
            <a:custGeom>
              <a:avLst/>
              <a:gdLst/>
              <a:ahLst/>
              <a:cxnLst>
                <a:cxn ang="0">
                  <a:pos x="196" y="108"/>
                </a:cxn>
                <a:cxn ang="0">
                  <a:pos x="175" y="128"/>
                </a:cxn>
                <a:cxn ang="0">
                  <a:pos x="150" y="137"/>
                </a:cxn>
                <a:cxn ang="0">
                  <a:pos x="136" y="145"/>
                </a:cxn>
                <a:cxn ang="0">
                  <a:pos x="126" y="149"/>
                </a:cxn>
                <a:cxn ang="0">
                  <a:pos x="116" y="152"/>
                </a:cxn>
                <a:cxn ang="0">
                  <a:pos x="99" y="150"/>
                </a:cxn>
                <a:cxn ang="0">
                  <a:pos x="88" y="157"/>
                </a:cxn>
                <a:cxn ang="0">
                  <a:pos x="68" y="154"/>
                </a:cxn>
                <a:cxn ang="0">
                  <a:pos x="39" y="142"/>
                </a:cxn>
                <a:cxn ang="0">
                  <a:pos x="30" y="128"/>
                </a:cxn>
                <a:cxn ang="0">
                  <a:pos x="17" y="108"/>
                </a:cxn>
                <a:cxn ang="0">
                  <a:pos x="0" y="98"/>
                </a:cxn>
                <a:cxn ang="0">
                  <a:pos x="3" y="91"/>
                </a:cxn>
                <a:cxn ang="0">
                  <a:pos x="15" y="87"/>
                </a:cxn>
                <a:cxn ang="0">
                  <a:pos x="18" y="62"/>
                </a:cxn>
                <a:cxn ang="0">
                  <a:pos x="27" y="53"/>
                </a:cxn>
                <a:cxn ang="0">
                  <a:pos x="37" y="31"/>
                </a:cxn>
                <a:cxn ang="0">
                  <a:pos x="47" y="12"/>
                </a:cxn>
                <a:cxn ang="0">
                  <a:pos x="54" y="9"/>
                </a:cxn>
                <a:cxn ang="0">
                  <a:pos x="58" y="6"/>
                </a:cxn>
                <a:cxn ang="0">
                  <a:pos x="66" y="0"/>
                </a:cxn>
                <a:cxn ang="0">
                  <a:pos x="73" y="7"/>
                </a:cxn>
                <a:cxn ang="0">
                  <a:pos x="82" y="4"/>
                </a:cxn>
                <a:cxn ang="0">
                  <a:pos x="88" y="4"/>
                </a:cxn>
                <a:cxn ang="0">
                  <a:pos x="99" y="6"/>
                </a:cxn>
                <a:cxn ang="0">
                  <a:pos x="112" y="17"/>
                </a:cxn>
                <a:cxn ang="0">
                  <a:pos x="123" y="29"/>
                </a:cxn>
                <a:cxn ang="0">
                  <a:pos x="128" y="36"/>
                </a:cxn>
                <a:cxn ang="0">
                  <a:pos x="123" y="52"/>
                </a:cxn>
                <a:cxn ang="0">
                  <a:pos x="129" y="55"/>
                </a:cxn>
                <a:cxn ang="0">
                  <a:pos x="136" y="55"/>
                </a:cxn>
                <a:cxn ang="0">
                  <a:pos x="136" y="63"/>
                </a:cxn>
                <a:cxn ang="0">
                  <a:pos x="153" y="81"/>
                </a:cxn>
                <a:cxn ang="0">
                  <a:pos x="174" y="87"/>
                </a:cxn>
                <a:cxn ang="0">
                  <a:pos x="194" y="96"/>
                </a:cxn>
                <a:cxn ang="0">
                  <a:pos x="204" y="99"/>
                </a:cxn>
              </a:cxnLst>
              <a:rect l="0" t="0" r="r" b="b"/>
              <a:pathLst>
                <a:path w="209" h="158">
                  <a:moveTo>
                    <a:pt x="204" y="99"/>
                  </a:moveTo>
                  <a:lnTo>
                    <a:pt x="196" y="108"/>
                  </a:lnTo>
                  <a:lnTo>
                    <a:pt x="186" y="118"/>
                  </a:lnTo>
                  <a:lnTo>
                    <a:pt x="175" y="128"/>
                  </a:lnTo>
                  <a:lnTo>
                    <a:pt x="167" y="137"/>
                  </a:lnTo>
                  <a:lnTo>
                    <a:pt x="150" y="137"/>
                  </a:lnTo>
                  <a:lnTo>
                    <a:pt x="143" y="140"/>
                  </a:lnTo>
                  <a:lnTo>
                    <a:pt x="136" y="145"/>
                  </a:lnTo>
                  <a:lnTo>
                    <a:pt x="128" y="149"/>
                  </a:lnTo>
                  <a:lnTo>
                    <a:pt x="126" y="149"/>
                  </a:lnTo>
                  <a:lnTo>
                    <a:pt x="123" y="152"/>
                  </a:lnTo>
                  <a:lnTo>
                    <a:pt x="116" y="152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4"/>
                  </a:lnTo>
                  <a:lnTo>
                    <a:pt x="88" y="157"/>
                  </a:lnTo>
                  <a:lnTo>
                    <a:pt x="82" y="157"/>
                  </a:lnTo>
                  <a:lnTo>
                    <a:pt x="68" y="154"/>
                  </a:lnTo>
                  <a:lnTo>
                    <a:pt x="51" y="144"/>
                  </a:lnTo>
                  <a:lnTo>
                    <a:pt x="39" y="142"/>
                  </a:lnTo>
                  <a:lnTo>
                    <a:pt x="41" y="132"/>
                  </a:lnTo>
                  <a:lnTo>
                    <a:pt x="30" y="128"/>
                  </a:lnTo>
                  <a:lnTo>
                    <a:pt x="24" y="115"/>
                  </a:lnTo>
                  <a:lnTo>
                    <a:pt x="17" y="108"/>
                  </a:lnTo>
                  <a:lnTo>
                    <a:pt x="12" y="101"/>
                  </a:lnTo>
                  <a:lnTo>
                    <a:pt x="0" y="98"/>
                  </a:lnTo>
                  <a:lnTo>
                    <a:pt x="3" y="94"/>
                  </a:lnTo>
                  <a:lnTo>
                    <a:pt x="3" y="91"/>
                  </a:lnTo>
                  <a:lnTo>
                    <a:pt x="12" y="89"/>
                  </a:lnTo>
                  <a:lnTo>
                    <a:pt x="15" y="87"/>
                  </a:lnTo>
                  <a:lnTo>
                    <a:pt x="17" y="60"/>
                  </a:lnTo>
                  <a:lnTo>
                    <a:pt x="18" y="62"/>
                  </a:lnTo>
                  <a:lnTo>
                    <a:pt x="20" y="57"/>
                  </a:lnTo>
                  <a:lnTo>
                    <a:pt x="27" y="53"/>
                  </a:lnTo>
                  <a:lnTo>
                    <a:pt x="29" y="43"/>
                  </a:lnTo>
                  <a:lnTo>
                    <a:pt x="37" y="31"/>
                  </a:lnTo>
                  <a:lnTo>
                    <a:pt x="44" y="26"/>
                  </a:lnTo>
                  <a:lnTo>
                    <a:pt x="47" y="12"/>
                  </a:lnTo>
                  <a:lnTo>
                    <a:pt x="49" y="7"/>
                  </a:lnTo>
                  <a:lnTo>
                    <a:pt x="54" y="9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61" y="11"/>
                  </a:lnTo>
                  <a:lnTo>
                    <a:pt x="66" y="0"/>
                  </a:lnTo>
                  <a:lnTo>
                    <a:pt x="71" y="4"/>
                  </a:lnTo>
                  <a:lnTo>
                    <a:pt x="73" y="7"/>
                  </a:lnTo>
                  <a:lnTo>
                    <a:pt x="80" y="6"/>
                  </a:lnTo>
                  <a:lnTo>
                    <a:pt x="82" y="4"/>
                  </a:lnTo>
                  <a:lnTo>
                    <a:pt x="85" y="6"/>
                  </a:lnTo>
                  <a:lnTo>
                    <a:pt x="88" y="4"/>
                  </a:lnTo>
                  <a:lnTo>
                    <a:pt x="93" y="7"/>
                  </a:lnTo>
                  <a:lnTo>
                    <a:pt x="99" y="6"/>
                  </a:lnTo>
                  <a:lnTo>
                    <a:pt x="105" y="11"/>
                  </a:lnTo>
                  <a:lnTo>
                    <a:pt x="112" y="17"/>
                  </a:lnTo>
                  <a:lnTo>
                    <a:pt x="119" y="23"/>
                  </a:lnTo>
                  <a:lnTo>
                    <a:pt x="123" y="29"/>
                  </a:lnTo>
                  <a:lnTo>
                    <a:pt x="129" y="35"/>
                  </a:lnTo>
                  <a:lnTo>
                    <a:pt x="128" y="36"/>
                  </a:lnTo>
                  <a:lnTo>
                    <a:pt x="126" y="45"/>
                  </a:lnTo>
                  <a:lnTo>
                    <a:pt x="123" y="52"/>
                  </a:lnTo>
                  <a:lnTo>
                    <a:pt x="124" y="55"/>
                  </a:lnTo>
                  <a:lnTo>
                    <a:pt x="129" y="55"/>
                  </a:lnTo>
                  <a:lnTo>
                    <a:pt x="133" y="53"/>
                  </a:lnTo>
                  <a:lnTo>
                    <a:pt x="136" y="55"/>
                  </a:lnTo>
                  <a:lnTo>
                    <a:pt x="134" y="58"/>
                  </a:lnTo>
                  <a:lnTo>
                    <a:pt x="136" y="63"/>
                  </a:lnTo>
                  <a:lnTo>
                    <a:pt x="146" y="75"/>
                  </a:lnTo>
                  <a:lnTo>
                    <a:pt x="153" y="81"/>
                  </a:lnTo>
                  <a:lnTo>
                    <a:pt x="163" y="84"/>
                  </a:lnTo>
                  <a:lnTo>
                    <a:pt x="174" y="87"/>
                  </a:lnTo>
                  <a:lnTo>
                    <a:pt x="184" y="92"/>
                  </a:lnTo>
                  <a:lnTo>
                    <a:pt x="194" y="96"/>
                  </a:lnTo>
                  <a:lnTo>
                    <a:pt x="208" y="94"/>
                  </a:lnTo>
                  <a:lnTo>
                    <a:pt x="204" y="99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3" name="Freeform 259">
              <a:extLst>
                <a:ext uri="{FF2B5EF4-FFF2-40B4-BE49-F238E27FC236}">
                  <a16:creationId xmlns:a16="http://schemas.microsoft.com/office/drawing/2014/main" id="{87F2D14F-3754-4747-99BE-940CF757B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6198" y="2742291"/>
              <a:ext cx="52828" cy="96065"/>
            </a:xfrm>
            <a:custGeom>
              <a:avLst/>
              <a:gdLst/>
              <a:ahLst/>
              <a:cxnLst>
                <a:cxn ang="0">
                  <a:pos x="17" y="56"/>
                </a:cxn>
                <a:cxn ang="0">
                  <a:pos x="27" y="55"/>
                </a:cxn>
                <a:cxn ang="0">
                  <a:pos x="30" y="55"/>
                </a:cxn>
                <a:cxn ang="0">
                  <a:pos x="37" y="53"/>
                </a:cxn>
                <a:cxn ang="0">
                  <a:pos x="42" y="56"/>
                </a:cxn>
                <a:cxn ang="0">
                  <a:pos x="42" y="51"/>
                </a:cxn>
                <a:cxn ang="0">
                  <a:pos x="49" y="44"/>
                </a:cxn>
                <a:cxn ang="0">
                  <a:pos x="51" y="48"/>
                </a:cxn>
                <a:cxn ang="0">
                  <a:pos x="52" y="43"/>
                </a:cxn>
                <a:cxn ang="0">
                  <a:pos x="58" y="36"/>
                </a:cxn>
                <a:cxn ang="0">
                  <a:pos x="61" y="36"/>
                </a:cxn>
                <a:cxn ang="0">
                  <a:pos x="61" y="33"/>
                </a:cxn>
                <a:cxn ang="0">
                  <a:pos x="64" y="29"/>
                </a:cxn>
                <a:cxn ang="0">
                  <a:pos x="64" y="21"/>
                </a:cxn>
                <a:cxn ang="0">
                  <a:pos x="68" y="24"/>
                </a:cxn>
                <a:cxn ang="0">
                  <a:pos x="73" y="17"/>
                </a:cxn>
                <a:cxn ang="0">
                  <a:pos x="76" y="7"/>
                </a:cxn>
                <a:cxn ang="0">
                  <a:pos x="76" y="5"/>
                </a:cxn>
                <a:cxn ang="0">
                  <a:pos x="90" y="12"/>
                </a:cxn>
                <a:cxn ang="0">
                  <a:pos x="97" y="53"/>
                </a:cxn>
                <a:cxn ang="0">
                  <a:pos x="92" y="46"/>
                </a:cxn>
                <a:cxn ang="0">
                  <a:pos x="88" y="56"/>
                </a:cxn>
                <a:cxn ang="0">
                  <a:pos x="87" y="72"/>
                </a:cxn>
                <a:cxn ang="0">
                  <a:pos x="71" y="123"/>
                </a:cxn>
                <a:cxn ang="0">
                  <a:pos x="56" y="181"/>
                </a:cxn>
                <a:cxn ang="0">
                  <a:pos x="47" y="189"/>
                </a:cxn>
                <a:cxn ang="0">
                  <a:pos x="25" y="196"/>
                </a:cxn>
                <a:cxn ang="0">
                  <a:pos x="8" y="179"/>
                </a:cxn>
                <a:cxn ang="0">
                  <a:pos x="6" y="166"/>
                </a:cxn>
                <a:cxn ang="0">
                  <a:pos x="0" y="152"/>
                </a:cxn>
                <a:cxn ang="0">
                  <a:pos x="3" y="133"/>
                </a:cxn>
                <a:cxn ang="0">
                  <a:pos x="6" y="130"/>
                </a:cxn>
                <a:cxn ang="0">
                  <a:pos x="17" y="109"/>
                </a:cxn>
                <a:cxn ang="0">
                  <a:pos x="13" y="96"/>
                </a:cxn>
                <a:cxn ang="0">
                  <a:pos x="10" y="77"/>
                </a:cxn>
                <a:cxn ang="0">
                  <a:pos x="17" y="58"/>
                </a:cxn>
              </a:cxnLst>
              <a:rect l="0" t="0" r="r" b="b"/>
              <a:pathLst>
                <a:path w="100" h="197">
                  <a:moveTo>
                    <a:pt x="17" y="58"/>
                  </a:moveTo>
                  <a:lnTo>
                    <a:pt x="17" y="56"/>
                  </a:lnTo>
                  <a:lnTo>
                    <a:pt x="23" y="58"/>
                  </a:lnTo>
                  <a:lnTo>
                    <a:pt x="27" y="55"/>
                  </a:lnTo>
                  <a:lnTo>
                    <a:pt x="29" y="56"/>
                  </a:lnTo>
                  <a:lnTo>
                    <a:pt x="30" y="55"/>
                  </a:lnTo>
                  <a:lnTo>
                    <a:pt x="32" y="51"/>
                  </a:lnTo>
                  <a:lnTo>
                    <a:pt x="37" y="53"/>
                  </a:lnTo>
                  <a:lnTo>
                    <a:pt x="37" y="51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2" y="51"/>
                  </a:lnTo>
                  <a:lnTo>
                    <a:pt x="44" y="50"/>
                  </a:lnTo>
                  <a:lnTo>
                    <a:pt x="49" y="44"/>
                  </a:lnTo>
                  <a:lnTo>
                    <a:pt x="51" y="44"/>
                  </a:lnTo>
                  <a:lnTo>
                    <a:pt x="51" y="48"/>
                  </a:lnTo>
                  <a:lnTo>
                    <a:pt x="54" y="48"/>
                  </a:lnTo>
                  <a:lnTo>
                    <a:pt x="52" y="43"/>
                  </a:lnTo>
                  <a:lnTo>
                    <a:pt x="56" y="38"/>
                  </a:lnTo>
                  <a:lnTo>
                    <a:pt x="58" y="36"/>
                  </a:lnTo>
                  <a:lnTo>
                    <a:pt x="58" y="41"/>
                  </a:lnTo>
                  <a:lnTo>
                    <a:pt x="61" y="36"/>
                  </a:lnTo>
                  <a:lnTo>
                    <a:pt x="64" y="36"/>
                  </a:lnTo>
                  <a:lnTo>
                    <a:pt x="61" y="33"/>
                  </a:lnTo>
                  <a:lnTo>
                    <a:pt x="63" y="27"/>
                  </a:lnTo>
                  <a:lnTo>
                    <a:pt x="64" y="29"/>
                  </a:lnTo>
                  <a:lnTo>
                    <a:pt x="63" y="21"/>
                  </a:lnTo>
                  <a:lnTo>
                    <a:pt x="64" y="21"/>
                  </a:lnTo>
                  <a:lnTo>
                    <a:pt x="66" y="21"/>
                  </a:lnTo>
                  <a:lnTo>
                    <a:pt x="68" y="24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5" y="15"/>
                  </a:lnTo>
                  <a:lnTo>
                    <a:pt x="76" y="7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81" y="0"/>
                  </a:lnTo>
                  <a:lnTo>
                    <a:pt x="90" y="12"/>
                  </a:lnTo>
                  <a:lnTo>
                    <a:pt x="99" y="46"/>
                  </a:lnTo>
                  <a:lnTo>
                    <a:pt x="97" y="53"/>
                  </a:lnTo>
                  <a:lnTo>
                    <a:pt x="93" y="53"/>
                  </a:lnTo>
                  <a:lnTo>
                    <a:pt x="92" y="46"/>
                  </a:lnTo>
                  <a:lnTo>
                    <a:pt x="90" y="46"/>
                  </a:lnTo>
                  <a:lnTo>
                    <a:pt x="88" y="56"/>
                  </a:lnTo>
                  <a:lnTo>
                    <a:pt x="90" y="63"/>
                  </a:lnTo>
                  <a:lnTo>
                    <a:pt x="87" y="72"/>
                  </a:lnTo>
                  <a:lnTo>
                    <a:pt x="83" y="92"/>
                  </a:lnTo>
                  <a:lnTo>
                    <a:pt x="71" y="123"/>
                  </a:lnTo>
                  <a:lnTo>
                    <a:pt x="59" y="172"/>
                  </a:lnTo>
                  <a:lnTo>
                    <a:pt x="56" y="181"/>
                  </a:lnTo>
                  <a:lnTo>
                    <a:pt x="52" y="186"/>
                  </a:lnTo>
                  <a:lnTo>
                    <a:pt x="47" y="189"/>
                  </a:lnTo>
                  <a:lnTo>
                    <a:pt x="37" y="189"/>
                  </a:lnTo>
                  <a:lnTo>
                    <a:pt x="25" y="196"/>
                  </a:lnTo>
                  <a:lnTo>
                    <a:pt x="12" y="186"/>
                  </a:lnTo>
                  <a:lnTo>
                    <a:pt x="8" y="179"/>
                  </a:lnTo>
                  <a:lnTo>
                    <a:pt x="6" y="171"/>
                  </a:lnTo>
                  <a:lnTo>
                    <a:pt x="6" y="166"/>
                  </a:lnTo>
                  <a:lnTo>
                    <a:pt x="5" y="157"/>
                  </a:lnTo>
                  <a:lnTo>
                    <a:pt x="0" y="152"/>
                  </a:lnTo>
                  <a:lnTo>
                    <a:pt x="0" y="140"/>
                  </a:lnTo>
                  <a:lnTo>
                    <a:pt x="3" y="133"/>
                  </a:lnTo>
                  <a:lnTo>
                    <a:pt x="5" y="131"/>
                  </a:lnTo>
                  <a:lnTo>
                    <a:pt x="6" y="130"/>
                  </a:lnTo>
                  <a:lnTo>
                    <a:pt x="10" y="123"/>
                  </a:lnTo>
                  <a:lnTo>
                    <a:pt x="17" y="109"/>
                  </a:lnTo>
                  <a:lnTo>
                    <a:pt x="18" y="106"/>
                  </a:lnTo>
                  <a:lnTo>
                    <a:pt x="13" y="96"/>
                  </a:lnTo>
                  <a:lnTo>
                    <a:pt x="12" y="80"/>
                  </a:lnTo>
                  <a:lnTo>
                    <a:pt x="10" y="77"/>
                  </a:lnTo>
                  <a:lnTo>
                    <a:pt x="17" y="63"/>
                  </a:lnTo>
                  <a:lnTo>
                    <a:pt x="17" y="58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4" name="Freeform 585">
              <a:extLst>
                <a:ext uri="{FF2B5EF4-FFF2-40B4-BE49-F238E27FC236}">
                  <a16:creationId xmlns:a16="http://schemas.microsoft.com/office/drawing/2014/main" id="{78FB68F9-1999-6643-BD78-3B29E5B34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278" y="2645738"/>
              <a:ext cx="8981" cy="8778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11"/>
                </a:cxn>
                <a:cxn ang="0">
                  <a:pos x="0" y="14"/>
                </a:cxn>
                <a:cxn ang="0">
                  <a:pos x="0" y="16"/>
                </a:cxn>
                <a:cxn ang="0">
                  <a:pos x="3" y="17"/>
                </a:cxn>
                <a:cxn ang="0">
                  <a:pos x="7" y="11"/>
                </a:cxn>
                <a:cxn ang="0">
                  <a:pos x="13" y="9"/>
                </a:cxn>
                <a:cxn ang="0">
                  <a:pos x="16" y="5"/>
                </a:cxn>
                <a:cxn ang="0">
                  <a:pos x="13" y="2"/>
                </a:cxn>
                <a:cxn ang="0">
                  <a:pos x="13" y="0"/>
                </a:cxn>
              </a:cxnLst>
              <a:rect l="0" t="0" r="r" b="b"/>
              <a:pathLst>
                <a:path w="17" h="18">
                  <a:moveTo>
                    <a:pt x="13" y="0"/>
                  </a:moveTo>
                  <a:lnTo>
                    <a:pt x="0" y="11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3" y="17"/>
                  </a:lnTo>
                  <a:lnTo>
                    <a:pt x="7" y="11"/>
                  </a:lnTo>
                  <a:lnTo>
                    <a:pt x="13" y="9"/>
                  </a:lnTo>
                  <a:lnTo>
                    <a:pt x="16" y="5"/>
                  </a:lnTo>
                  <a:lnTo>
                    <a:pt x="13" y="2"/>
                  </a:lnTo>
                  <a:lnTo>
                    <a:pt x="13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5" name="Freeform 586">
              <a:extLst>
                <a:ext uri="{FF2B5EF4-FFF2-40B4-BE49-F238E27FC236}">
                  <a16:creationId xmlns:a16="http://schemas.microsoft.com/office/drawing/2014/main" id="{DDCE9DDF-506D-064C-A99D-D720494A1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1307" y="2600388"/>
              <a:ext cx="14263" cy="19506"/>
            </a:xfrm>
            <a:custGeom>
              <a:avLst/>
              <a:gdLst/>
              <a:ahLst/>
              <a:cxnLst>
                <a:cxn ang="0">
                  <a:pos x="16" y="11"/>
                </a:cxn>
                <a:cxn ang="0">
                  <a:pos x="14" y="11"/>
                </a:cxn>
                <a:cxn ang="0">
                  <a:pos x="12" y="6"/>
                </a:cxn>
                <a:cxn ang="0">
                  <a:pos x="11" y="6"/>
                </a:cxn>
                <a:cxn ang="0">
                  <a:pos x="5" y="0"/>
                </a:cxn>
                <a:cxn ang="0">
                  <a:pos x="7" y="5"/>
                </a:cxn>
                <a:cxn ang="0">
                  <a:pos x="0" y="5"/>
                </a:cxn>
                <a:cxn ang="0">
                  <a:pos x="4" y="6"/>
                </a:cxn>
                <a:cxn ang="0">
                  <a:pos x="5" y="8"/>
                </a:cxn>
                <a:cxn ang="0">
                  <a:pos x="9" y="8"/>
                </a:cxn>
                <a:cxn ang="0">
                  <a:pos x="9" y="11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17" y="15"/>
                </a:cxn>
                <a:cxn ang="0">
                  <a:pos x="19" y="18"/>
                </a:cxn>
                <a:cxn ang="0">
                  <a:pos x="14" y="22"/>
                </a:cxn>
                <a:cxn ang="0">
                  <a:pos x="21" y="22"/>
                </a:cxn>
                <a:cxn ang="0">
                  <a:pos x="21" y="22"/>
                </a:cxn>
                <a:cxn ang="0">
                  <a:pos x="17" y="27"/>
                </a:cxn>
                <a:cxn ang="0">
                  <a:pos x="23" y="30"/>
                </a:cxn>
                <a:cxn ang="0">
                  <a:pos x="24" y="34"/>
                </a:cxn>
                <a:cxn ang="0">
                  <a:pos x="17" y="32"/>
                </a:cxn>
                <a:cxn ang="0">
                  <a:pos x="9" y="29"/>
                </a:cxn>
                <a:cxn ang="0">
                  <a:pos x="19" y="35"/>
                </a:cxn>
                <a:cxn ang="0">
                  <a:pos x="23" y="37"/>
                </a:cxn>
                <a:cxn ang="0">
                  <a:pos x="23" y="39"/>
                </a:cxn>
                <a:cxn ang="0">
                  <a:pos x="26" y="34"/>
                </a:cxn>
                <a:cxn ang="0">
                  <a:pos x="26" y="23"/>
                </a:cxn>
                <a:cxn ang="0">
                  <a:pos x="23" y="15"/>
                </a:cxn>
                <a:cxn ang="0">
                  <a:pos x="26" y="13"/>
                </a:cxn>
                <a:cxn ang="0">
                  <a:pos x="26" y="10"/>
                </a:cxn>
                <a:cxn ang="0">
                  <a:pos x="24" y="6"/>
                </a:cxn>
                <a:cxn ang="0">
                  <a:pos x="21" y="10"/>
                </a:cxn>
                <a:cxn ang="0">
                  <a:pos x="23" y="11"/>
                </a:cxn>
                <a:cxn ang="0">
                  <a:pos x="23" y="15"/>
                </a:cxn>
                <a:cxn ang="0">
                  <a:pos x="17" y="13"/>
                </a:cxn>
              </a:cxnLst>
              <a:rect l="0" t="0" r="r" b="b"/>
              <a:pathLst>
                <a:path w="27" h="40">
                  <a:moveTo>
                    <a:pt x="19" y="11"/>
                  </a:moveTo>
                  <a:lnTo>
                    <a:pt x="16" y="11"/>
                  </a:lnTo>
                  <a:lnTo>
                    <a:pt x="16" y="13"/>
                  </a:lnTo>
                  <a:lnTo>
                    <a:pt x="14" y="11"/>
                  </a:lnTo>
                  <a:lnTo>
                    <a:pt x="11" y="8"/>
                  </a:lnTo>
                  <a:lnTo>
                    <a:pt x="12" y="6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9" y="6"/>
                  </a:lnTo>
                  <a:lnTo>
                    <a:pt x="5" y="0"/>
                  </a:lnTo>
                  <a:lnTo>
                    <a:pt x="5" y="3"/>
                  </a:lnTo>
                  <a:lnTo>
                    <a:pt x="7" y="5"/>
                  </a:lnTo>
                  <a:lnTo>
                    <a:pt x="2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7" y="6"/>
                  </a:lnTo>
                  <a:lnTo>
                    <a:pt x="9" y="8"/>
                  </a:lnTo>
                  <a:lnTo>
                    <a:pt x="11" y="10"/>
                  </a:lnTo>
                  <a:lnTo>
                    <a:pt x="9" y="11"/>
                  </a:lnTo>
                  <a:lnTo>
                    <a:pt x="12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12" y="13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9" y="15"/>
                  </a:lnTo>
                  <a:lnTo>
                    <a:pt x="19" y="18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9" y="20"/>
                  </a:lnTo>
                  <a:lnTo>
                    <a:pt x="21" y="22"/>
                  </a:lnTo>
                  <a:lnTo>
                    <a:pt x="19" y="22"/>
                  </a:lnTo>
                  <a:lnTo>
                    <a:pt x="21" y="22"/>
                  </a:lnTo>
                  <a:lnTo>
                    <a:pt x="23" y="25"/>
                  </a:lnTo>
                  <a:lnTo>
                    <a:pt x="17" y="27"/>
                  </a:lnTo>
                  <a:lnTo>
                    <a:pt x="23" y="27"/>
                  </a:lnTo>
                  <a:lnTo>
                    <a:pt x="23" y="30"/>
                  </a:lnTo>
                  <a:lnTo>
                    <a:pt x="19" y="32"/>
                  </a:lnTo>
                  <a:lnTo>
                    <a:pt x="24" y="34"/>
                  </a:lnTo>
                  <a:lnTo>
                    <a:pt x="19" y="34"/>
                  </a:lnTo>
                  <a:lnTo>
                    <a:pt x="17" y="32"/>
                  </a:lnTo>
                  <a:lnTo>
                    <a:pt x="12" y="32"/>
                  </a:lnTo>
                  <a:lnTo>
                    <a:pt x="9" y="29"/>
                  </a:lnTo>
                  <a:lnTo>
                    <a:pt x="12" y="32"/>
                  </a:lnTo>
                  <a:lnTo>
                    <a:pt x="19" y="35"/>
                  </a:lnTo>
                  <a:lnTo>
                    <a:pt x="21" y="39"/>
                  </a:lnTo>
                  <a:lnTo>
                    <a:pt x="23" y="37"/>
                  </a:lnTo>
                  <a:lnTo>
                    <a:pt x="21" y="39"/>
                  </a:lnTo>
                  <a:lnTo>
                    <a:pt x="23" y="39"/>
                  </a:lnTo>
                  <a:lnTo>
                    <a:pt x="23" y="34"/>
                  </a:lnTo>
                  <a:lnTo>
                    <a:pt x="26" y="34"/>
                  </a:lnTo>
                  <a:lnTo>
                    <a:pt x="24" y="30"/>
                  </a:lnTo>
                  <a:lnTo>
                    <a:pt x="26" y="23"/>
                  </a:lnTo>
                  <a:lnTo>
                    <a:pt x="24" y="17"/>
                  </a:lnTo>
                  <a:lnTo>
                    <a:pt x="23" y="15"/>
                  </a:lnTo>
                  <a:lnTo>
                    <a:pt x="24" y="13"/>
                  </a:lnTo>
                  <a:lnTo>
                    <a:pt x="26" y="13"/>
                  </a:lnTo>
                  <a:lnTo>
                    <a:pt x="24" y="11"/>
                  </a:lnTo>
                  <a:lnTo>
                    <a:pt x="26" y="10"/>
                  </a:lnTo>
                  <a:lnTo>
                    <a:pt x="23" y="8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1" y="10"/>
                  </a:lnTo>
                  <a:lnTo>
                    <a:pt x="24" y="10"/>
                  </a:lnTo>
                  <a:lnTo>
                    <a:pt x="23" y="11"/>
                  </a:lnTo>
                  <a:lnTo>
                    <a:pt x="24" y="13"/>
                  </a:lnTo>
                  <a:lnTo>
                    <a:pt x="23" y="15"/>
                  </a:lnTo>
                  <a:lnTo>
                    <a:pt x="21" y="18"/>
                  </a:lnTo>
                  <a:lnTo>
                    <a:pt x="17" y="13"/>
                  </a:lnTo>
                  <a:lnTo>
                    <a:pt x="19" y="11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6" name="Freeform 587">
              <a:extLst>
                <a:ext uri="{FF2B5EF4-FFF2-40B4-BE49-F238E27FC236}">
                  <a16:creationId xmlns:a16="http://schemas.microsoft.com/office/drawing/2014/main" id="{6E82657B-542F-4B41-A0BD-40849BB5C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3898" y="2631109"/>
              <a:ext cx="8981" cy="1462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6" y="5"/>
                </a:cxn>
                <a:cxn ang="0">
                  <a:pos x="8" y="20"/>
                </a:cxn>
                <a:cxn ang="0">
                  <a:pos x="13" y="25"/>
                </a:cxn>
                <a:cxn ang="0">
                  <a:pos x="16" y="29"/>
                </a:cxn>
                <a:cxn ang="0">
                  <a:pos x="13" y="29"/>
                </a:cxn>
                <a:cxn ang="0">
                  <a:pos x="10" y="24"/>
                </a:cxn>
                <a:cxn ang="0">
                  <a:pos x="4" y="20"/>
                </a:cxn>
                <a:cxn ang="0">
                  <a:pos x="0" y="8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7" h="30">
                  <a:moveTo>
                    <a:pt x="1" y="0"/>
                  </a:moveTo>
                  <a:lnTo>
                    <a:pt x="6" y="5"/>
                  </a:lnTo>
                  <a:lnTo>
                    <a:pt x="8" y="20"/>
                  </a:lnTo>
                  <a:lnTo>
                    <a:pt x="13" y="25"/>
                  </a:lnTo>
                  <a:lnTo>
                    <a:pt x="16" y="29"/>
                  </a:lnTo>
                  <a:lnTo>
                    <a:pt x="13" y="29"/>
                  </a:lnTo>
                  <a:lnTo>
                    <a:pt x="10" y="24"/>
                  </a:lnTo>
                  <a:lnTo>
                    <a:pt x="4" y="20"/>
                  </a:lnTo>
                  <a:lnTo>
                    <a:pt x="0" y="8"/>
                  </a:lnTo>
                  <a:lnTo>
                    <a:pt x="0" y="1"/>
                  </a:lnTo>
                  <a:lnTo>
                    <a:pt x="1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7" name="Freeform 588">
              <a:extLst>
                <a:ext uri="{FF2B5EF4-FFF2-40B4-BE49-F238E27FC236}">
                  <a16:creationId xmlns:a16="http://schemas.microsoft.com/office/drawing/2014/main" id="{FADB26D9-A30D-054B-B3AA-61D038DF8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825" y="2661830"/>
              <a:ext cx="8981" cy="829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10"/>
                </a:cxn>
                <a:cxn ang="0">
                  <a:pos x="0" y="16"/>
                </a:cxn>
                <a:cxn ang="0">
                  <a:pos x="11" y="6"/>
                </a:cxn>
                <a:cxn ang="0">
                  <a:pos x="16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7" h="17">
                  <a:moveTo>
                    <a:pt x="9" y="0"/>
                  </a:moveTo>
                  <a:lnTo>
                    <a:pt x="0" y="10"/>
                  </a:lnTo>
                  <a:lnTo>
                    <a:pt x="0" y="16"/>
                  </a:lnTo>
                  <a:lnTo>
                    <a:pt x="11" y="6"/>
                  </a:lnTo>
                  <a:lnTo>
                    <a:pt x="16" y="0"/>
                  </a:lnTo>
                  <a:lnTo>
                    <a:pt x="11" y="0"/>
                  </a:lnTo>
                  <a:lnTo>
                    <a:pt x="9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8" name="Freeform 589">
              <a:extLst>
                <a:ext uri="{FF2B5EF4-FFF2-40B4-BE49-F238E27FC236}">
                  <a16:creationId xmlns:a16="http://schemas.microsoft.com/office/drawing/2014/main" id="{16D9159A-C889-F742-823A-9BC353E5A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1599" y="2718396"/>
              <a:ext cx="8981" cy="8290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0" y="16"/>
                </a:cxn>
                <a:cxn ang="0">
                  <a:pos x="2" y="16"/>
                </a:cxn>
                <a:cxn ang="0">
                  <a:pos x="8" y="16"/>
                </a:cxn>
                <a:cxn ang="0">
                  <a:pos x="13" y="16"/>
                </a:cxn>
                <a:cxn ang="0">
                  <a:pos x="13" y="12"/>
                </a:cxn>
                <a:cxn ang="0">
                  <a:pos x="13" y="10"/>
                </a:cxn>
                <a:cxn ang="0">
                  <a:pos x="16" y="6"/>
                </a:cxn>
                <a:cxn ang="0">
                  <a:pos x="16" y="2"/>
                </a:cxn>
                <a:cxn ang="0">
                  <a:pos x="13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6"/>
                </a:cxn>
                <a:cxn ang="0">
                  <a:pos x="2" y="10"/>
                </a:cxn>
              </a:cxnLst>
              <a:rect l="0" t="0" r="r" b="b"/>
              <a:pathLst>
                <a:path w="17" h="17">
                  <a:moveTo>
                    <a:pt x="2" y="10"/>
                  </a:moveTo>
                  <a:lnTo>
                    <a:pt x="0" y="16"/>
                  </a:lnTo>
                  <a:lnTo>
                    <a:pt x="2" y="16"/>
                  </a:lnTo>
                  <a:lnTo>
                    <a:pt x="8" y="16"/>
                  </a:lnTo>
                  <a:lnTo>
                    <a:pt x="13" y="16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6" y="6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6"/>
                  </a:lnTo>
                  <a:lnTo>
                    <a:pt x="2" y="1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D39D082D-E937-7A40-ABBB-6BAA5A8B6AD6}"/>
              </a:ext>
            </a:extLst>
          </p:cNvPr>
          <p:cNvGrpSpPr/>
          <p:nvPr/>
        </p:nvGrpSpPr>
        <p:grpSpPr>
          <a:xfrm>
            <a:off x="7107618" y="2106397"/>
            <a:ext cx="1055663" cy="1088438"/>
            <a:chOff x="6954131" y="2106397"/>
            <a:chExt cx="1055663" cy="1088438"/>
          </a:xfrm>
        </p:grpSpPr>
        <p:sp>
          <p:nvSpPr>
            <p:cNvPr id="110" name="Freeform 42">
              <a:extLst>
                <a:ext uri="{FF2B5EF4-FFF2-40B4-BE49-F238E27FC236}">
                  <a16:creationId xmlns:a16="http://schemas.microsoft.com/office/drawing/2014/main" id="{1F45532C-99E2-2744-8911-EC85ADC63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5044" y="2204973"/>
              <a:ext cx="18911" cy="1745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6" y="11"/>
                </a:cxn>
                <a:cxn ang="0">
                  <a:pos x="6" y="6"/>
                </a:cxn>
                <a:cxn ang="0">
                  <a:pos x="16" y="2"/>
                </a:cxn>
                <a:cxn ang="0">
                  <a:pos x="9" y="0"/>
                </a:cxn>
                <a:cxn ang="0">
                  <a:pos x="0" y="6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6" y="11"/>
                  </a:lnTo>
                  <a:lnTo>
                    <a:pt x="6" y="6"/>
                  </a:lnTo>
                  <a:lnTo>
                    <a:pt x="16" y="2"/>
                  </a:lnTo>
                  <a:lnTo>
                    <a:pt x="9" y="0"/>
                  </a:lnTo>
                  <a:lnTo>
                    <a:pt x="0" y="6"/>
                  </a:lnTo>
                  <a:lnTo>
                    <a:pt x="0" y="16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1" name="Freeform 45">
              <a:extLst>
                <a:ext uri="{FF2B5EF4-FFF2-40B4-BE49-F238E27FC236}">
                  <a16:creationId xmlns:a16="http://schemas.microsoft.com/office/drawing/2014/main" id="{206BB566-2A65-E54F-AC4F-083786D28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20" y="2202919"/>
              <a:ext cx="171309" cy="157105"/>
            </a:xfrm>
            <a:custGeom>
              <a:avLst/>
              <a:gdLst/>
              <a:ahLst/>
              <a:cxnLst>
                <a:cxn ang="0">
                  <a:pos x="131" y="5"/>
                </a:cxn>
                <a:cxn ang="0">
                  <a:pos x="117" y="10"/>
                </a:cxn>
                <a:cxn ang="0">
                  <a:pos x="109" y="10"/>
                </a:cxn>
                <a:cxn ang="0">
                  <a:pos x="104" y="7"/>
                </a:cxn>
                <a:cxn ang="0">
                  <a:pos x="97" y="3"/>
                </a:cxn>
                <a:cxn ang="0">
                  <a:pos x="88" y="2"/>
                </a:cxn>
                <a:cxn ang="0">
                  <a:pos x="83" y="3"/>
                </a:cxn>
                <a:cxn ang="0">
                  <a:pos x="59" y="14"/>
                </a:cxn>
                <a:cxn ang="0">
                  <a:pos x="17" y="2"/>
                </a:cxn>
                <a:cxn ang="0">
                  <a:pos x="6" y="0"/>
                </a:cxn>
                <a:cxn ang="0">
                  <a:pos x="1" y="5"/>
                </a:cxn>
                <a:cxn ang="0">
                  <a:pos x="0" y="26"/>
                </a:cxn>
                <a:cxn ang="0">
                  <a:pos x="3" y="34"/>
                </a:cxn>
                <a:cxn ang="0">
                  <a:pos x="6" y="41"/>
                </a:cxn>
                <a:cxn ang="0">
                  <a:pos x="6" y="68"/>
                </a:cxn>
                <a:cxn ang="0">
                  <a:pos x="6" y="96"/>
                </a:cxn>
                <a:cxn ang="0">
                  <a:pos x="6" y="123"/>
                </a:cxn>
                <a:cxn ang="0">
                  <a:pos x="6" y="148"/>
                </a:cxn>
                <a:cxn ang="0">
                  <a:pos x="27" y="148"/>
                </a:cxn>
                <a:cxn ang="0">
                  <a:pos x="49" y="148"/>
                </a:cxn>
                <a:cxn ang="0">
                  <a:pos x="70" y="148"/>
                </a:cxn>
                <a:cxn ang="0">
                  <a:pos x="92" y="148"/>
                </a:cxn>
                <a:cxn ang="0">
                  <a:pos x="95" y="147"/>
                </a:cxn>
                <a:cxn ang="0">
                  <a:pos x="105" y="148"/>
                </a:cxn>
                <a:cxn ang="0">
                  <a:pos x="124" y="152"/>
                </a:cxn>
                <a:cxn ang="0">
                  <a:pos x="131" y="145"/>
                </a:cxn>
                <a:cxn ang="0">
                  <a:pos x="143" y="136"/>
                </a:cxn>
                <a:cxn ang="0">
                  <a:pos x="151" y="133"/>
                </a:cxn>
                <a:cxn ang="0">
                  <a:pos x="153" y="119"/>
                </a:cxn>
                <a:cxn ang="0">
                  <a:pos x="129" y="82"/>
                </a:cxn>
                <a:cxn ang="0">
                  <a:pos x="122" y="65"/>
                </a:cxn>
                <a:cxn ang="0">
                  <a:pos x="116" y="51"/>
                </a:cxn>
                <a:cxn ang="0">
                  <a:pos x="111" y="38"/>
                </a:cxn>
                <a:cxn ang="0">
                  <a:pos x="109" y="27"/>
                </a:cxn>
                <a:cxn ang="0">
                  <a:pos x="112" y="34"/>
                </a:cxn>
                <a:cxn ang="0">
                  <a:pos x="119" y="49"/>
                </a:cxn>
                <a:cxn ang="0">
                  <a:pos x="134" y="60"/>
                </a:cxn>
                <a:cxn ang="0">
                  <a:pos x="141" y="36"/>
                </a:cxn>
                <a:cxn ang="0">
                  <a:pos x="136" y="21"/>
                </a:cxn>
                <a:cxn ang="0">
                  <a:pos x="131" y="9"/>
                </a:cxn>
              </a:cxnLst>
              <a:rect l="0" t="0" r="r" b="b"/>
              <a:pathLst>
                <a:path w="154" h="153">
                  <a:moveTo>
                    <a:pt x="131" y="9"/>
                  </a:moveTo>
                  <a:lnTo>
                    <a:pt x="131" y="5"/>
                  </a:lnTo>
                  <a:lnTo>
                    <a:pt x="122" y="10"/>
                  </a:lnTo>
                  <a:lnTo>
                    <a:pt x="117" y="10"/>
                  </a:lnTo>
                  <a:lnTo>
                    <a:pt x="116" y="9"/>
                  </a:lnTo>
                  <a:lnTo>
                    <a:pt x="109" y="10"/>
                  </a:lnTo>
                  <a:lnTo>
                    <a:pt x="107" y="9"/>
                  </a:lnTo>
                  <a:lnTo>
                    <a:pt x="104" y="7"/>
                  </a:lnTo>
                  <a:lnTo>
                    <a:pt x="100" y="2"/>
                  </a:lnTo>
                  <a:lnTo>
                    <a:pt x="97" y="3"/>
                  </a:lnTo>
                  <a:lnTo>
                    <a:pt x="90" y="3"/>
                  </a:lnTo>
                  <a:lnTo>
                    <a:pt x="88" y="2"/>
                  </a:lnTo>
                  <a:lnTo>
                    <a:pt x="82" y="5"/>
                  </a:lnTo>
                  <a:lnTo>
                    <a:pt x="83" y="3"/>
                  </a:lnTo>
                  <a:lnTo>
                    <a:pt x="78" y="3"/>
                  </a:lnTo>
                  <a:lnTo>
                    <a:pt x="59" y="14"/>
                  </a:lnTo>
                  <a:lnTo>
                    <a:pt x="30" y="3"/>
                  </a:lnTo>
                  <a:lnTo>
                    <a:pt x="17" y="2"/>
                  </a:lnTo>
                  <a:lnTo>
                    <a:pt x="8" y="2"/>
                  </a:lnTo>
                  <a:lnTo>
                    <a:pt x="6" y="0"/>
                  </a:lnTo>
                  <a:lnTo>
                    <a:pt x="5" y="0"/>
                  </a:lnTo>
                  <a:lnTo>
                    <a:pt x="1" y="5"/>
                  </a:lnTo>
                  <a:lnTo>
                    <a:pt x="3" y="21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4"/>
                  </a:lnTo>
                  <a:lnTo>
                    <a:pt x="1" y="38"/>
                  </a:lnTo>
                  <a:lnTo>
                    <a:pt x="6" y="41"/>
                  </a:lnTo>
                  <a:lnTo>
                    <a:pt x="6" y="55"/>
                  </a:lnTo>
                  <a:lnTo>
                    <a:pt x="6" y="68"/>
                  </a:lnTo>
                  <a:lnTo>
                    <a:pt x="6" y="82"/>
                  </a:lnTo>
                  <a:lnTo>
                    <a:pt x="6" y="96"/>
                  </a:lnTo>
                  <a:lnTo>
                    <a:pt x="6" y="109"/>
                  </a:lnTo>
                  <a:lnTo>
                    <a:pt x="6" y="123"/>
                  </a:lnTo>
                  <a:lnTo>
                    <a:pt x="6" y="136"/>
                  </a:lnTo>
                  <a:lnTo>
                    <a:pt x="6" y="148"/>
                  </a:lnTo>
                  <a:lnTo>
                    <a:pt x="17" y="148"/>
                  </a:lnTo>
                  <a:lnTo>
                    <a:pt x="27" y="148"/>
                  </a:lnTo>
                  <a:lnTo>
                    <a:pt x="39" y="148"/>
                  </a:lnTo>
                  <a:lnTo>
                    <a:pt x="49" y="148"/>
                  </a:lnTo>
                  <a:lnTo>
                    <a:pt x="59" y="148"/>
                  </a:lnTo>
                  <a:lnTo>
                    <a:pt x="70" y="148"/>
                  </a:lnTo>
                  <a:lnTo>
                    <a:pt x="82" y="148"/>
                  </a:lnTo>
                  <a:lnTo>
                    <a:pt x="92" y="148"/>
                  </a:lnTo>
                  <a:lnTo>
                    <a:pt x="93" y="145"/>
                  </a:lnTo>
                  <a:lnTo>
                    <a:pt x="95" y="147"/>
                  </a:lnTo>
                  <a:lnTo>
                    <a:pt x="93" y="148"/>
                  </a:lnTo>
                  <a:lnTo>
                    <a:pt x="105" y="148"/>
                  </a:lnTo>
                  <a:lnTo>
                    <a:pt x="119" y="148"/>
                  </a:lnTo>
                  <a:lnTo>
                    <a:pt x="124" y="152"/>
                  </a:lnTo>
                  <a:lnTo>
                    <a:pt x="129" y="152"/>
                  </a:lnTo>
                  <a:lnTo>
                    <a:pt x="131" y="145"/>
                  </a:lnTo>
                  <a:lnTo>
                    <a:pt x="140" y="143"/>
                  </a:lnTo>
                  <a:lnTo>
                    <a:pt x="143" y="136"/>
                  </a:lnTo>
                  <a:lnTo>
                    <a:pt x="146" y="136"/>
                  </a:lnTo>
                  <a:lnTo>
                    <a:pt x="151" y="133"/>
                  </a:lnTo>
                  <a:lnTo>
                    <a:pt x="150" y="121"/>
                  </a:lnTo>
                  <a:lnTo>
                    <a:pt x="153" y="119"/>
                  </a:lnTo>
                  <a:lnTo>
                    <a:pt x="145" y="113"/>
                  </a:lnTo>
                  <a:lnTo>
                    <a:pt x="129" y="82"/>
                  </a:lnTo>
                  <a:lnTo>
                    <a:pt x="128" y="70"/>
                  </a:lnTo>
                  <a:lnTo>
                    <a:pt x="122" y="65"/>
                  </a:lnTo>
                  <a:lnTo>
                    <a:pt x="122" y="58"/>
                  </a:lnTo>
                  <a:lnTo>
                    <a:pt x="116" y="51"/>
                  </a:lnTo>
                  <a:lnTo>
                    <a:pt x="111" y="44"/>
                  </a:lnTo>
                  <a:lnTo>
                    <a:pt x="111" y="38"/>
                  </a:lnTo>
                  <a:lnTo>
                    <a:pt x="107" y="32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2" y="34"/>
                  </a:lnTo>
                  <a:lnTo>
                    <a:pt x="119" y="44"/>
                  </a:lnTo>
                  <a:lnTo>
                    <a:pt x="119" y="49"/>
                  </a:lnTo>
                  <a:lnTo>
                    <a:pt x="129" y="61"/>
                  </a:lnTo>
                  <a:lnTo>
                    <a:pt x="134" y="60"/>
                  </a:lnTo>
                  <a:lnTo>
                    <a:pt x="136" y="53"/>
                  </a:lnTo>
                  <a:lnTo>
                    <a:pt x="141" y="36"/>
                  </a:lnTo>
                  <a:lnTo>
                    <a:pt x="138" y="29"/>
                  </a:lnTo>
                  <a:lnTo>
                    <a:pt x="136" y="21"/>
                  </a:lnTo>
                  <a:lnTo>
                    <a:pt x="133" y="14"/>
                  </a:lnTo>
                  <a:lnTo>
                    <a:pt x="131" y="9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2" name="Freeform 51">
              <a:extLst>
                <a:ext uri="{FF2B5EF4-FFF2-40B4-BE49-F238E27FC236}">
                  <a16:creationId xmlns:a16="http://schemas.microsoft.com/office/drawing/2014/main" id="{65EFBA9A-D1C8-8A4D-8C08-E8A18B293D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1326" y="2598248"/>
              <a:ext cx="292560" cy="261841"/>
            </a:xfrm>
            <a:custGeom>
              <a:avLst/>
              <a:gdLst/>
              <a:ahLst/>
              <a:cxnLst>
                <a:cxn ang="0">
                  <a:pos x="251" y="52"/>
                </a:cxn>
                <a:cxn ang="0">
                  <a:pos x="257" y="40"/>
                </a:cxn>
                <a:cxn ang="0">
                  <a:pos x="257" y="23"/>
                </a:cxn>
                <a:cxn ang="0">
                  <a:pos x="239" y="9"/>
                </a:cxn>
                <a:cxn ang="0">
                  <a:pos x="227" y="11"/>
                </a:cxn>
                <a:cxn ang="0">
                  <a:pos x="218" y="11"/>
                </a:cxn>
                <a:cxn ang="0">
                  <a:pos x="203" y="0"/>
                </a:cxn>
                <a:cxn ang="0">
                  <a:pos x="198" y="2"/>
                </a:cxn>
                <a:cxn ang="0">
                  <a:pos x="193" y="0"/>
                </a:cxn>
                <a:cxn ang="0">
                  <a:pos x="179" y="0"/>
                </a:cxn>
                <a:cxn ang="0">
                  <a:pos x="172" y="6"/>
                </a:cxn>
                <a:cxn ang="0">
                  <a:pos x="153" y="7"/>
                </a:cxn>
                <a:cxn ang="0">
                  <a:pos x="143" y="7"/>
                </a:cxn>
                <a:cxn ang="0">
                  <a:pos x="140" y="12"/>
                </a:cxn>
                <a:cxn ang="0">
                  <a:pos x="117" y="9"/>
                </a:cxn>
                <a:cxn ang="0">
                  <a:pos x="114" y="11"/>
                </a:cxn>
                <a:cxn ang="0">
                  <a:pos x="99" y="0"/>
                </a:cxn>
                <a:cxn ang="0">
                  <a:pos x="90" y="21"/>
                </a:cxn>
                <a:cxn ang="0">
                  <a:pos x="87" y="31"/>
                </a:cxn>
                <a:cxn ang="0">
                  <a:pos x="75" y="81"/>
                </a:cxn>
                <a:cxn ang="0">
                  <a:pos x="56" y="101"/>
                </a:cxn>
                <a:cxn ang="0">
                  <a:pos x="53" y="116"/>
                </a:cxn>
                <a:cxn ang="0">
                  <a:pos x="36" y="137"/>
                </a:cxn>
                <a:cxn ang="0">
                  <a:pos x="27" y="137"/>
                </a:cxn>
                <a:cxn ang="0">
                  <a:pos x="20" y="133"/>
                </a:cxn>
                <a:cxn ang="0">
                  <a:pos x="13" y="139"/>
                </a:cxn>
                <a:cxn ang="0">
                  <a:pos x="3" y="140"/>
                </a:cxn>
                <a:cxn ang="0">
                  <a:pos x="0" y="152"/>
                </a:cxn>
                <a:cxn ang="0">
                  <a:pos x="13" y="152"/>
                </a:cxn>
                <a:cxn ang="0">
                  <a:pos x="34" y="152"/>
                </a:cxn>
                <a:cxn ang="0">
                  <a:pos x="54" y="152"/>
                </a:cxn>
                <a:cxn ang="0">
                  <a:pos x="63" y="173"/>
                </a:cxn>
                <a:cxn ang="0">
                  <a:pos x="75" y="183"/>
                </a:cxn>
                <a:cxn ang="0">
                  <a:pos x="95" y="181"/>
                </a:cxn>
                <a:cxn ang="0">
                  <a:pos x="116" y="166"/>
                </a:cxn>
                <a:cxn ang="0">
                  <a:pos x="128" y="173"/>
                </a:cxn>
                <a:cxn ang="0">
                  <a:pos x="131" y="195"/>
                </a:cxn>
                <a:cxn ang="0">
                  <a:pos x="135" y="217"/>
                </a:cxn>
                <a:cxn ang="0">
                  <a:pos x="138" y="227"/>
                </a:cxn>
                <a:cxn ang="0">
                  <a:pos x="148" y="222"/>
                </a:cxn>
                <a:cxn ang="0">
                  <a:pos x="162" y="222"/>
                </a:cxn>
                <a:cxn ang="0">
                  <a:pos x="169" y="227"/>
                </a:cxn>
                <a:cxn ang="0">
                  <a:pos x="181" y="231"/>
                </a:cxn>
                <a:cxn ang="0">
                  <a:pos x="203" y="234"/>
                </a:cxn>
                <a:cxn ang="0">
                  <a:pos x="218" y="241"/>
                </a:cxn>
                <a:cxn ang="0">
                  <a:pos x="228" y="253"/>
                </a:cxn>
                <a:cxn ang="0">
                  <a:pos x="237" y="253"/>
                </a:cxn>
                <a:cxn ang="0">
                  <a:pos x="239" y="241"/>
                </a:cxn>
                <a:cxn ang="0">
                  <a:pos x="223" y="234"/>
                </a:cxn>
                <a:cxn ang="0">
                  <a:pos x="228" y="208"/>
                </a:cxn>
                <a:cxn ang="0">
                  <a:pos x="228" y="196"/>
                </a:cxn>
                <a:cxn ang="0">
                  <a:pos x="232" y="190"/>
                </a:cxn>
                <a:cxn ang="0">
                  <a:pos x="251" y="185"/>
                </a:cxn>
                <a:cxn ang="0">
                  <a:pos x="240" y="168"/>
                </a:cxn>
                <a:cxn ang="0">
                  <a:pos x="235" y="150"/>
                </a:cxn>
                <a:cxn ang="0">
                  <a:pos x="232" y="142"/>
                </a:cxn>
                <a:cxn ang="0">
                  <a:pos x="233" y="130"/>
                </a:cxn>
                <a:cxn ang="0">
                  <a:pos x="232" y="127"/>
                </a:cxn>
                <a:cxn ang="0">
                  <a:pos x="235" y="111"/>
                </a:cxn>
                <a:cxn ang="0">
                  <a:pos x="230" y="104"/>
                </a:cxn>
                <a:cxn ang="0">
                  <a:pos x="240" y="89"/>
                </a:cxn>
                <a:cxn ang="0">
                  <a:pos x="242" y="74"/>
                </a:cxn>
                <a:cxn ang="0">
                  <a:pos x="251" y="55"/>
                </a:cxn>
              </a:cxnLst>
              <a:rect l="0" t="0" r="r" b="b"/>
              <a:pathLst>
                <a:path w="263" h="255">
                  <a:moveTo>
                    <a:pt x="251" y="55"/>
                  </a:moveTo>
                  <a:lnTo>
                    <a:pt x="251" y="52"/>
                  </a:lnTo>
                  <a:lnTo>
                    <a:pt x="262" y="41"/>
                  </a:lnTo>
                  <a:lnTo>
                    <a:pt x="257" y="40"/>
                  </a:lnTo>
                  <a:lnTo>
                    <a:pt x="256" y="36"/>
                  </a:lnTo>
                  <a:lnTo>
                    <a:pt x="257" y="23"/>
                  </a:lnTo>
                  <a:lnTo>
                    <a:pt x="256" y="23"/>
                  </a:lnTo>
                  <a:lnTo>
                    <a:pt x="239" y="9"/>
                  </a:lnTo>
                  <a:lnTo>
                    <a:pt x="235" y="11"/>
                  </a:lnTo>
                  <a:lnTo>
                    <a:pt x="227" y="11"/>
                  </a:lnTo>
                  <a:lnTo>
                    <a:pt x="223" y="12"/>
                  </a:lnTo>
                  <a:lnTo>
                    <a:pt x="218" y="11"/>
                  </a:lnTo>
                  <a:lnTo>
                    <a:pt x="210" y="0"/>
                  </a:lnTo>
                  <a:lnTo>
                    <a:pt x="203" y="0"/>
                  </a:lnTo>
                  <a:lnTo>
                    <a:pt x="201" y="4"/>
                  </a:lnTo>
                  <a:lnTo>
                    <a:pt x="198" y="2"/>
                  </a:lnTo>
                  <a:lnTo>
                    <a:pt x="196" y="4"/>
                  </a:lnTo>
                  <a:lnTo>
                    <a:pt x="193" y="0"/>
                  </a:lnTo>
                  <a:lnTo>
                    <a:pt x="184" y="2"/>
                  </a:lnTo>
                  <a:lnTo>
                    <a:pt x="179" y="0"/>
                  </a:lnTo>
                  <a:lnTo>
                    <a:pt x="177" y="4"/>
                  </a:lnTo>
                  <a:lnTo>
                    <a:pt x="172" y="6"/>
                  </a:lnTo>
                  <a:lnTo>
                    <a:pt x="169" y="2"/>
                  </a:lnTo>
                  <a:lnTo>
                    <a:pt x="153" y="7"/>
                  </a:lnTo>
                  <a:lnTo>
                    <a:pt x="146" y="6"/>
                  </a:lnTo>
                  <a:lnTo>
                    <a:pt x="143" y="7"/>
                  </a:lnTo>
                  <a:lnTo>
                    <a:pt x="141" y="12"/>
                  </a:lnTo>
                  <a:lnTo>
                    <a:pt x="140" y="12"/>
                  </a:lnTo>
                  <a:lnTo>
                    <a:pt x="128" y="12"/>
                  </a:lnTo>
                  <a:lnTo>
                    <a:pt x="117" y="9"/>
                  </a:lnTo>
                  <a:lnTo>
                    <a:pt x="116" y="11"/>
                  </a:lnTo>
                  <a:lnTo>
                    <a:pt x="114" y="11"/>
                  </a:lnTo>
                  <a:lnTo>
                    <a:pt x="107" y="2"/>
                  </a:lnTo>
                  <a:lnTo>
                    <a:pt x="99" y="0"/>
                  </a:lnTo>
                  <a:lnTo>
                    <a:pt x="90" y="11"/>
                  </a:lnTo>
                  <a:lnTo>
                    <a:pt x="90" y="21"/>
                  </a:lnTo>
                  <a:lnTo>
                    <a:pt x="87" y="21"/>
                  </a:lnTo>
                  <a:lnTo>
                    <a:pt x="87" y="31"/>
                  </a:lnTo>
                  <a:lnTo>
                    <a:pt x="78" y="46"/>
                  </a:lnTo>
                  <a:lnTo>
                    <a:pt x="75" y="81"/>
                  </a:lnTo>
                  <a:lnTo>
                    <a:pt x="61" y="91"/>
                  </a:lnTo>
                  <a:lnTo>
                    <a:pt x="56" y="101"/>
                  </a:lnTo>
                  <a:lnTo>
                    <a:pt x="54" y="106"/>
                  </a:lnTo>
                  <a:lnTo>
                    <a:pt x="53" y="116"/>
                  </a:lnTo>
                  <a:lnTo>
                    <a:pt x="49" y="125"/>
                  </a:lnTo>
                  <a:lnTo>
                    <a:pt x="36" y="137"/>
                  </a:lnTo>
                  <a:lnTo>
                    <a:pt x="30" y="139"/>
                  </a:lnTo>
                  <a:lnTo>
                    <a:pt x="27" y="137"/>
                  </a:lnTo>
                  <a:lnTo>
                    <a:pt x="27" y="132"/>
                  </a:lnTo>
                  <a:lnTo>
                    <a:pt x="20" y="133"/>
                  </a:lnTo>
                  <a:lnTo>
                    <a:pt x="17" y="139"/>
                  </a:lnTo>
                  <a:lnTo>
                    <a:pt x="13" y="139"/>
                  </a:lnTo>
                  <a:lnTo>
                    <a:pt x="8" y="137"/>
                  </a:lnTo>
                  <a:lnTo>
                    <a:pt x="3" y="140"/>
                  </a:lnTo>
                  <a:lnTo>
                    <a:pt x="1" y="150"/>
                  </a:lnTo>
                  <a:lnTo>
                    <a:pt x="0" y="152"/>
                  </a:lnTo>
                  <a:lnTo>
                    <a:pt x="0" y="157"/>
                  </a:lnTo>
                  <a:lnTo>
                    <a:pt x="13" y="152"/>
                  </a:lnTo>
                  <a:lnTo>
                    <a:pt x="24" y="152"/>
                  </a:lnTo>
                  <a:lnTo>
                    <a:pt x="34" y="152"/>
                  </a:lnTo>
                  <a:lnTo>
                    <a:pt x="44" y="152"/>
                  </a:lnTo>
                  <a:lnTo>
                    <a:pt x="54" y="152"/>
                  </a:lnTo>
                  <a:lnTo>
                    <a:pt x="59" y="156"/>
                  </a:lnTo>
                  <a:lnTo>
                    <a:pt x="63" y="173"/>
                  </a:lnTo>
                  <a:lnTo>
                    <a:pt x="71" y="181"/>
                  </a:lnTo>
                  <a:lnTo>
                    <a:pt x="75" y="183"/>
                  </a:lnTo>
                  <a:lnTo>
                    <a:pt x="87" y="181"/>
                  </a:lnTo>
                  <a:lnTo>
                    <a:pt x="95" y="181"/>
                  </a:lnTo>
                  <a:lnTo>
                    <a:pt x="99" y="168"/>
                  </a:lnTo>
                  <a:lnTo>
                    <a:pt x="116" y="166"/>
                  </a:lnTo>
                  <a:lnTo>
                    <a:pt x="116" y="171"/>
                  </a:lnTo>
                  <a:lnTo>
                    <a:pt x="128" y="173"/>
                  </a:lnTo>
                  <a:lnTo>
                    <a:pt x="129" y="174"/>
                  </a:lnTo>
                  <a:lnTo>
                    <a:pt x="131" y="195"/>
                  </a:lnTo>
                  <a:lnTo>
                    <a:pt x="131" y="202"/>
                  </a:lnTo>
                  <a:lnTo>
                    <a:pt x="135" y="217"/>
                  </a:lnTo>
                  <a:lnTo>
                    <a:pt x="133" y="225"/>
                  </a:lnTo>
                  <a:lnTo>
                    <a:pt x="138" y="227"/>
                  </a:lnTo>
                  <a:lnTo>
                    <a:pt x="140" y="224"/>
                  </a:lnTo>
                  <a:lnTo>
                    <a:pt x="148" y="222"/>
                  </a:lnTo>
                  <a:lnTo>
                    <a:pt x="158" y="222"/>
                  </a:lnTo>
                  <a:lnTo>
                    <a:pt x="162" y="222"/>
                  </a:lnTo>
                  <a:lnTo>
                    <a:pt x="165" y="220"/>
                  </a:lnTo>
                  <a:lnTo>
                    <a:pt x="169" y="227"/>
                  </a:lnTo>
                  <a:lnTo>
                    <a:pt x="177" y="224"/>
                  </a:lnTo>
                  <a:lnTo>
                    <a:pt x="181" y="231"/>
                  </a:lnTo>
                  <a:lnTo>
                    <a:pt x="193" y="236"/>
                  </a:lnTo>
                  <a:lnTo>
                    <a:pt x="203" y="234"/>
                  </a:lnTo>
                  <a:lnTo>
                    <a:pt x="208" y="237"/>
                  </a:lnTo>
                  <a:lnTo>
                    <a:pt x="218" y="241"/>
                  </a:lnTo>
                  <a:lnTo>
                    <a:pt x="222" y="248"/>
                  </a:lnTo>
                  <a:lnTo>
                    <a:pt x="228" y="253"/>
                  </a:lnTo>
                  <a:lnTo>
                    <a:pt x="233" y="254"/>
                  </a:lnTo>
                  <a:lnTo>
                    <a:pt x="237" y="253"/>
                  </a:lnTo>
                  <a:lnTo>
                    <a:pt x="240" y="254"/>
                  </a:lnTo>
                  <a:lnTo>
                    <a:pt x="239" y="241"/>
                  </a:lnTo>
                  <a:lnTo>
                    <a:pt x="230" y="241"/>
                  </a:lnTo>
                  <a:lnTo>
                    <a:pt x="223" y="234"/>
                  </a:lnTo>
                  <a:lnTo>
                    <a:pt x="228" y="215"/>
                  </a:lnTo>
                  <a:lnTo>
                    <a:pt x="228" y="208"/>
                  </a:lnTo>
                  <a:lnTo>
                    <a:pt x="228" y="200"/>
                  </a:lnTo>
                  <a:lnTo>
                    <a:pt x="228" y="196"/>
                  </a:lnTo>
                  <a:lnTo>
                    <a:pt x="230" y="193"/>
                  </a:lnTo>
                  <a:lnTo>
                    <a:pt x="232" y="190"/>
                  </a:lnTo>
                  <a:lnTo>
                    <a:pt x="233" y="188"/>
                  </a:lnTo>
                  <a:lnTo>
                    <a:pt x="251" y="185"/>
                  </a:lnTo>
                  <a:lnTo>
                    <a:pt x="249" y="176"/>
                  </a:lnTo>
                  <a:lnTo>
                    <a:pt x="240" y="168"/>
                  </a:lnTo>
                  <a:lnTo>
                    <a:pt x="235" y="161"/>
                  </a:lnTo>
                  <a:lnTo>
                    <a:pt x="235" y="150"/>
                  </a:lnTo>
                  <a:lnTo>
                    <a:pt x="233" y="145"/>
                  </a:lnTo>
                  <a:lnTo>
                    <a:pt x="232" y="142"/>
                  </a:lnTo>
                  <a:lnTo>
                    <a:pt x="233" y="132"/>
                  </a:lnTo>
                  <a:lnTo>
                    <a:pt x="233" y="130"/>
                  </a:lnTo>
                  <a:lnTo>
                    <a:pt x="232" y="130"/>
                  </a:lnTo>
                  <a:lnTo>
                    <a:pt x="232" y="127"/>
                  </a:lnTo>
                  <a:lnTo>
                    <a:pt x="235" y="118"/>
                  </a:lnTo>
                  <a:lnTo>
                    <a:pt x="235" y="111"/>
                  </a:lnTo>
                  <a:lnTo>
                    <a:pt x="232" y="108"/>
                  </a:lnTo>
                  <a:lnTo>
                    <a:pt x="230" y="104"/>
                  </a:lnTo>
                  <a:lnTo>
                    <a:pt x="235" y="98"/>
                  </a:lnTo>
                  <a:lnTo>
                    <a:pt x="240" y="89"/>
                  </a:lnTo>
                  <a:lnTo>
                    <a:pt x="240" y="77"/>
                  </a:lnTo>
                  <a:lnTo>
                    <a:pt x="242" y="74"/>
                  </a:lnTo>
                  <a:lnTo>
                    <a:pt x="244" y="67"/>
                  </a:lnTo>
                  <a:lnTo>
                    <a:pt x="251" y="55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3" name="Freeform 52">
              <a:extLst>
                <a:ext uri="{FF2B5EF4-FFF2-40B4-BE49-F238E27FC236}">
                  <a16:creationId xmlns:a16="http://schemas.microsoft.com/office/drawing/2014/main" id="{2B4D2858-1281-CD46-9D7D-AE16FA1AF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3620" y="2989469"/>
              <a:ext cx="253626" cy="205366"/>
            </a:xfrm>
            <a:custGeom>
              <a:avLst/>
              <a:gdLst/>
              <a:ahLst/>
              <a:cxnLst>
                <a:cxn ang="0">
                  <a:pos x="19" y="105"/>
                </a:cxn>
                <a:cxn ang="0">
                  <a:pos x="15" y="100"/>
                </a:cxn>
                <a:cxn ang="0">
                  <a:pos x="7" y="95"/>
                </a:cxn>
                <a:cxn ang="0">
                  <a:pos x="0" y="100"/>
                </a:cxn>
                <a:cxn ang="0">
                  <a:pos x="26" y="153"/>
                </a:cxn>
                <a:cxn ang="0">
                  <a:pos x="24" y="167"/>
                </a:cxn>
                <a:cxn ang="0">
                  <a:pos x="19" y="170"/>
                </a:cxn>
                <a:cxn ang="0">
                  <a:pos x="22" y="174"/>
                </a:cxn>
                <a:cxn ang="0">
                  <a:pos x="27" y="187"/>
                </a:cxn>
                <a:cxn ang="0">
                  <a:pos x="29" y="189"/>
                </a:cxn>
                <a:cxn ang="0">
                  <a:pos x="32" y="192"/>
                </a:cxn>
                <a:cxn ang="0">
                  <a:pos x="39" y="196"/>
                </a:cxn>
                <a:cxn ang="0">
                  <a:pos x="50" y="199"/>
                </a:cxn>
                <a:cxn ang="0">
                  <a:pos x="75" y="192"/>
                </a:cxn>
                <a:cxn ang="0">
                  <a:pos x="80" y="187"/>
                </a:cxn>
                <a:cxn ang="0">
                  <a:pos x="92" y="189"/>
                </a:cxn>
                <a:cxn ang="0">
                  <a:pos x="116" y="191"/>
                </a:cxn>
                <a:cxn ang="0">
                  <a:pos x="128" y="187"/>
                </a:cxn>
                <a:cxn ang="0">
                  <a:pos x="130" y="184"/>
                </a:cxn>
                <a:cxn ang="0">
                  <a:pos x="148" y="180"/>
                </a:cxn>
                <a:cxn ang="0">
                  <a:pos x="181" y="148"/>
                </a:cxn>
                <a:cxn ang="0">
                  <a:pos x="206" y="110"/>
                </a:cxn>
                <a:cxn ang="0">
                  <a:pos x="227" y="71"/>
                </a:cxn>
                <a:cxn ang="0">
                  <a:pos x="215" y="56"/>
                </a:cxn>
                <a:cxn ang="0">
                  <a:pos x="208" y="8"/>
                </a:cxn>
                <a:cxn ang="0">
                  <a:pos x="198" y="3"/>
                </a:cxn>
                <a:cxn ang="0">
                  <a:pos x="181" y="0"/>
                </a:cxn>
                <a:cxn ang="0">
                  <a:pos x="162" y="10"/>
                </a:cxn>
                <a:cxn ang="0">
                  <a:pos x="145" y="27"/>
                </a:cxn>
                <a:cxn ang="0">
                  <a:pos x="130" y="42"/>
                </a:cxn>
                <a:cxn ang="0">
                  <a:pos x="114" y="54"/>
                </a:cxn>
                <a:cxn ang="0">
                  <a:pos x="96" y="51"/>
                </a:cxn>
                <a:cxn ang="0">
                  <a:pos x="70" y="71"/>
                </a:cxn>
                <a:cxn ang="0">
                  <a:pos x="58" y="68"/>
                </a:cxn>
                <a:cxn ang="0">
                  <a:pos x="60" y="54"/>
                </a:cxn>
                <a:cxn ang="0">
                  <a:pos x="48" y="56"/>
                </a:cxn>
                <a:cxn ang="0">
                  <a:pos x="48" y="99"/>
                </a:cxn>
              </a:cxnLst>
              <a:rect l="0" t="0" r="r" b="b"/>
              <a:pathLst>
                <a:path w="228" h="200">
                  <a:moveTo>
                    <a:pt x="36" y="105"/>
                  </a:moveTo>
                  <a:lnTo>
                    <a:pt x="19" y="105"/>
                  </a:lnTo>
                  <a:lnTo>
                    <a:pt x="15" y="102"/>
                  </a:lnTo>
                  <a:lnTo>
                    <a:pt x="15" y="100"/>
                  </a:lnTo>
                  <a:lnTo>
                    <a:pt x="9" y="95"/>
                  </a:lnTo>
                  <a:lnTo>
                    <a:pt x="7" y="95"/>
                  </a:lnTo>
                  <a:lnTo>
                    <a:pt x="3" y="100"/>
                  </a:lnTo>
                  <a:lnTo>
                    <a:pt x="0" y="100"/>
                  </a:lnTo>
                  <a:lnTo>
                    <a:pt x="14" y="133"/>
                  </a:lnTo>
                  <a:lnTo>
                    <a:pt x="26" y="153"/>
                  </a:lnTo>
                  <a:lnTo>
                    <a:pt x="26" y="163"/>
                  </a:lnTo>
                  <a:lnTo>
                    <a:pt x="24" y="167"/>
                  </a:lnTo>
                  <a:lnTo>
                    <a:pt x="21" y="165"/>
                  </a:lnTo>
                  <a:lnTo>
                    <a:pt x="19" y="170"/>
                  </a:lnTo>
                  <a:lnTo>
                    <a:pt x="22" y="172"/>
                  </a:lnTo>
                  <a:lnTo>
                    <a:pt x="22" y="174"/>
                  </a:lnTo>
                  <a:lnTo>
                    <a:pt x="27" y="182"/>
                  </a:lnTo>
                  <a:lnTo>
                    <a:pt x="27" y="187"/>
                  </a:lnTo>
                  <a:lnTo>
                    <a:pt x="27" y="192"/>
                  </a:lnTo>
                  <a:lnTo>
                    <a:pt x="29" y="189"/>
                  </a:lnTo>
                  <a:lnTo>
                    <a:pt x="32" y="189"/>
                  </a:lnTo>
                  <a:lnTo>
                    <a:pt x="32" y="192"/>
                  </a:lnTo>
                  <a:lnTo>
                    <a:pt x="39" y="194"/>
                  </a:lnTo>
                  <a:lnTo>
                    <a:pt x="39" y="196"/>
                  </a:lnTo>
                  <a:lnTo>
                    <a:pt x="43" y="197"/>
                  </a:lnTo>
                  <a:lnTo>
                    <a:pt x="50" y="199"/>
                  </a:lnTo>
                  <a:lnTo>
                    <a:pt x="55" y="196"/>
                  </a:lnTo>
                  <a:lnTo>
                    <a:pt x="75" y="192"/>
                  </a:lnTo>
                  <a:lnTo>
                    <a:pt x="75" y="191"/>
                  </a:lnTo>
                  <a:lnTo>
                    <a:pt x="80" y="187"/>
                  </a:lnTo>
                  <a:lnTo>
                    <a:pt x="84" y="187"/>
                  </a:lnTo>
                  <a:lnTo>
                    <a:pt x="92" y="189"/>
                  </a:lnTo>
                  <a:lnTo>
                    <a:pt x="99" y="187"/>
                  </a:lnTo>
                  <a:lnTo>
                    <a:pt x="116" y="191"/>
                  </a:lnTo>
                  <a:lnTo>
                    <a:pt x="118" y="187"/>
                  </a:lnTo>
                  <a:lnTo>
                    <a:pt x="128" y="187"/>
                  </a:lnTo>
                  <a:lnTo>
                    <a:pt x="128" y="184"/>
                  </a:lnTo>
                  <a:lnTo>
                    <a:pt x="130" y="184"/>
                  </a:lnTo>
                  <a:lnTo>
                    <a:pt x="143" y="182"/>
                  </a:lnTo>
                  <a:lnTo>
                    <a:pt x="148" y="180"/>
                  </a:lnTo>
                  <a:lnTo>
                    <a:pt x="167" y="163"/>
                  </a:lnTo>
                  <a:lnTo>
                    <a:pt x="181" y="148"/>
                  </a:lnTo>
                  <a:lnTo>
                    <a:pt x="188" y="141"/>
                  </a:lnTo>
                  <a:lnTo>
                    <a:pt x="206" y="110"/>
                  </a:lnTo>
                  <a:lnTo>
                    <a:pt x="220" y="97"/>
                  </a:lnTo>
                  <a:lnTo>
                    <a:pt x="227" y="71"/>
                  </a:lnTo>
                  <a:lnTo>
                    <a:pt x="215" y="71"/>
                  </a:lnTo>
                  <a:lnTo>
                    <a:pt x="215" y="56"/>
                  </a:lnTo>
                  <a:lnTo>
                    <a:pt x="213" y="34"/>
                  </a:lnTo>
                  <a:lnTo>
                    <a:pt x="208" y="8"/>
                  </a:lnTo>
                  <a:lnTo>
                    <a:pt x="203" y="5"/>
                  </a:lnTo>
                  <a:lnTo>
                    <a:pt x="198" y="3"/>
                  </a:lnTo>
                  <a:lnTo>
                    <a:pt x="189" y="3"/>
                  </a:lnTo>
                  <a:lnTo>
                    <a:pt x="181" y="0"/>
                  </a:lnTo>
                  <a:lnTo>
                    <a:pt x="177" y="1"/>
                  </a:lnTo>
                  <a:lnTo>
                    <a:pt x="162" y="10"/>
                  </a:lnTo>
                  <a:lnTo>
                    <a:pt x="154" y="17"/>
                  </a:lnTo>
                  <a:lnTo>
                    <a:pt x="145" y="27"/>
                  </a:lnTo>
                  <a:lnTo>
                    <a:pt x="142" y="32"/>
                  </a:lnTo>
                  <a:lnTo>
                    <a:pt x="130" y="42"/>
                  </a:lnTo>
                  <a:lnTo>
                    <a:pt x="125" y="52"/>
                  </a:lnTo>
                  <a:lnTo>
                    <a:pt x="114" y="54"/>
                  </a:lnTo>
                  <a:lnTo>
                    <a:pt x="102" y="51"/>
                  </a:lnTo>
                  <a:lnTo>
                    <a:pt x="96" y="51"/>
                  </a:lnTo>
                  <a:lnTo>
                    <a:pt x="79" y="70"/>
                  </a:lnTo>
                  <a:lnTo>
                    <a:pt x="70" y="71"/>
                  </a:lnTo>
                  <a:lnTo>
                    <a:pt x="60" y="70"/>
                  </a:lnTo>
                  <a:lnTo>
                    <a:pt x="58" y="68"/>
                  </a:lnTo>
                  <a:lnTo>
                    <a:pt x="61" y="59"/>
                  </a:lnTo>
                  <a:lnTo>
                    <a:pt x="60" y="54"/>
                  </a:lnTo>
                  <a:lnTo>
                    <a:pt x="48" y="41"/>
                  </a:lnTo>
                  <a:lnTo>
                    <a:pt x="48" y="56"/>
                  </a:lnTo>
                  <a:lnTo>
                    <a:pt x="48" y="73"/>
                  </a:lnTo>
                  <a:lnTo>
                    <a:pt x="48" y="99"/>
                  </a:lnTo>
                  <a:lnTo>
                    <a:pt x="36" y="105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4" name="Freeform 54">
              <a:extLst>
                <a:ext uri="{FF2B5EF4-FFF2-40B4-BE49-F238E27FC236}">
                  <a16:creationId xmlns:a16="http://schemas.microsoft.com/office/drawing/2014/main" id="{9740C010-9C3B-9B4A-8536-C25FD53A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1499" y="2788211"/>
              <a:ext cx="179096" cy="142729"/>
            </a:xfrm>
            <a:custGeom>
              <a:avLst/>
              <a:gdLst/>
              <a:ahLst/>
              <a:cxnLst>
                <a:cxn ang="0">
                  <a:pos x="76" y="121"/>
                </a:cxn>
                <a:cxn ang="0">
                  <a:pos x="85" y="117"/>
                </a:cxn>
                <a:cxn ang="0">
                  <a:pos x="90" y="114"/>
                </a:cxn>
                <a:cxn ang="0">
                  <a:pos x="104" y="104"/>
                </a:cxn>
                <a:cxn ang="0">
                  <a:pos x="112" y="104"/>
                </a:cxn>
                <a:cxn ang="0">
                  <a:pos x="119" y="92"/>
                </a:cxn>
                <a:cxn ang="0">
                  <a:pos x="143" y="85"/>
                </a:cxn>
                <a:cxn ang="0">
                  <a:pos x="150" y="80"/>
                </a:cxn>
                <a:cxn ang="0">
                  <a:pos x="150" y="69"/>
                </a:cxn>
                <a:cxn ang="0">
                  <a:pos x="156" y="59"/>
                </a:cxn>
                <a:cxn ang="0">
                  <a:pos x="155" y="46"/>
                </a:cxn>
                <a:cxn ang="0">
                  <a:pos x="160" y="34"/>
                </a:cxn>
                <a:cxn ang="0">
                  <a:pos x="153" y="20"/>
                </a:cxn>
                <a:cxn ang="0">
                  <a:pos x="150" y="17"/>
                </a:cxn>
                <a:cxn ang="0">
                  <a:pos x="127" y="5"/>
                </a:cxn>
                <a:cxn ang="0">
                  <a:pos x="122" y="8"/>
                </a:cxn>
                <a:cxn ang="0">
                  <a:pos x="116" y="0"/>
                </a:cxn>
                <a:cxn ang="0">
                  <a:pos x="97" y="5"/>
                </a:cxn>
                <a:cxn ang="0">
                  <a:pos x="93" y="11"/>
                </a:cxn>
                <a:cxn ang="0">
                  <a:pos x="93" y="23"/>
                </a:cxn>
                <a:cxn ang="0">
                  <a:pos x="88" y="49"/>
                </a:cxn>
                <a:cxn ang="0">
                  <a:pos x="104" y="56"/>
                </a:cxn>
                <a:cxn ang="0">
                  <a:pos x="102" y="68"/>
                </a:cxn>
                <a:cxn ang="0">
                  <a:pos x="93" y="68"/>
                </a:cxn>
                <a:cxn ang="0">
                  <a:pos x="83" y="56"/>
                </a:cxn>
                <a:cxn ang="0">
                  <a:pos x="68" y="49"/>
                </a:cxn>
                <a:cxn ang="0">
                  <a:pos x="46" y="46"/>
                </a:cxn>
                <a:cxn ang="0">
                  <a:pos x="34" y="42"/>
                </a:cxn>
                <a:cxn ang="0">
                  <a:pos x="27" y="37"/>
                </a:cxn>
                <a:cxn ang="0">
                  <a:pos x="29" y="66"/>
                </a:cxn>
                <a:cxn ang="0">
                  <a:pos x="8" y="66"/>
                </a:cxn>
                <a:cxn ang="0">
                  <a:pos x="0" y="76"/>
                </a:cxn>
                <a:cxn ang="0">
                  <a:pos x="0" y="100"/>
                </a:cxn>
                <a:cxn ang="0">
                  <a:pos x="15" y="131"/>
                </a:cxn>
                <a:cxn ang="0">
                  <a:pos x="37" y="129"/>
                </a:cxn>
                <a:cxn ang="0">
                  <a:pos x="52" y="136"/>
                </a:cxn>
                <a:cxn ang="0">
                  <a:pos x="63" y="138"/>
                </a:cxn>
                <a:cxn ang="0">
                  <a:pos x="66" y="136"/>
                </a:cxn>
              </a:cxnLst>
              <a:rect l="0" t="0" r="r" b="b"/>
              <a:pathLst>
                <a:path w="161" h="139">
                  <a:moveTo>
                    <a:pt x="66" y="136"/>
                  </a:moveTo>
                  <a:lnTo>
                    <a:pt x="76" y="121"/>
                  </a:lnTo>
                  <a:lnTo>
                    <a:pt x="80" y="121"/>
                  </a:lnTo>
                  <a:lnTo>
                    <a:pt x="85" y="117"/>
                  </a:lnTo>
                  <a:lnTo>
                    <a:pt x="90" y="117"/>
                  </a:lnTo>
                  <a:lnTo>
                    <a:pt x="90" y="114"/>
                  </a:lnTo>
                  <a:lnTo>
                    <a:pt x="92" y="109"/>
                  </a:lnTo>
                  <a:lnTo>
                    <a:pt x="104" y="104"/>
                  </a:lnTo>
                  <a:lnTo>
                    <a:pt x="109" y="104"/>
                  </a:lnTo>
                  <a:lnTo>
                    <a:pt x="112" y="104"/>
                  </a:lnTo>
                  <a:lnTo>
                    <a:pt x="109" y="95"/>
                  </a:lnTo>
                  <a:lnTo>
                    <a:pt x="119" y="92"/>
                  </a:lnTo>
                  <a:lnTo>
                    <a:pt x="131" y="88"/>
                  </a:lnTo>
                  <a:lnTo>
                    <a:pt x="143" y="85"/>
                  </a:lnTo>
                  <a:lnTo>
                    <a:pt x="153" y="81"/>
                  </a:lnTo>
                  <a:lnTo>
                    <a:pt x="150" y="80"/>
                  </a:lnTo>
                  <a:lnTo>
                    <a:pt x="146" y="76"/>
                  </a:lnTo>
                  <a:lnTo>
                    <a:pt x="150" y="69"/>
                  </a:lnTo>
                  <a:lnTo>
                    <a:pt x="151" y="63"/>
                  </a:lnTo>
                  <a:lnTo>
                    <a:pt x="156" y="59"/>
                  </a:lnTo>
                  <a:lnTo>
                    <a:pt x="155" y="56"/>
                  </a:lnTo>
                  <a:lnTo>
                    <a:pt x="155" y="46"/>
                  </a:lnTo>
                  <a:lnTo>
                    <a:pt x="156" y="37"/>
                  </a:lnTo>
                  <a:lnTo>
                    <a:pt x="160" y="34"/>
                  </a:lnTo>
                  <a:lnTo>
                    <a:pt x="155" y="22"/>
                  </a:lnTo>
                  <a:lnTo>
                    <a:pt x="153" y="20"/>
                  </a:lnTo>
                  <a:lnTo>
                    <a:pt x="151" y="20"/>
                  </a:lnTo>
                  <a:lnTo>
                    <a:pt x="150" y="17"/>
                  </a:lnTo>
                  <a:lnTo>
                    <a:pt x="134" y="10"/>
                  </a:lnTo>
                  <a:lnTo>
                    <a:pt x="127" y="5"/>
                  </a:lnTo>
                  <a:lnTo>
                    <a:pt x="124" y="5"/>
                  </a:lnTo>
                  <a:lnTo>
                    <a:pt x="122" y="8"/>
                  </a:lnTo>
                  <a:lnTo>
                    <a:pt x="117" y="5"/>
                  </a:lnTo>
                  <a:lnTo>
                    <a:pt x="116" y="0"/>
                  </a:lnTo>
                  <a:lnTo>
                    <a:pt x="98" y="3"/>
                  </a:lnTo>
                  <a:lnTo>
                    <a:pt x="97" y="5"/>
                  </a:lnTo>
                  <a:lnTo>
                    <a:pt x="95" y="8"/>
                  </a:lnTo>
                  <a:lnTo>
                    <a:pt x="93" y="11"/>
                  </a:lnTo>
                  <a:lnTo>
                    <a:pt x="93" y="15"/>
                  </a:lnTo>
                  <a:lnTo>
                    <a:pt x="93" y="23"/>
                  </a:lnTo>
                  <a:lnTo>
                    <a:pt x="93" y="30"/>
                  </a:lnTo>
                  <a:lnTo>
                    <a:pt x="88" y="49"/>
                  </a:lnTo>
                  <a:lnTo>
                    <a:pt x="95" y="56"/>
                  </a:lnTo>
                  <a:lnTo>
                    <a:pt x="104" y="56"/>
                  </a:lnTo>
                  <a:lnTo>
                    <a:pt x="105" y="69"/>
                  </a:lnTo>
                  <a:lnTo>
                    <a:pt x="102" y="68"/>
                  </a:lnTo>
                  <a:lnTo>
                    <a:pt x="98" y="69"/>
                  </a:lnTo>
                  <a:lnTo>
                    <a:pt x="93" y="68"/>
                  </a:lnTo>
                  <a:lnTo>
                    <a:pt x="87" y="63"/>
                  </a:lnTo>
                  <a:lnTo>
                    <a:pt x="83" y="56"/>
                  </a:lnTo>
                  <a:lnTo>
                    <a:pt x="73" y="52"/>
                  </a:lnTo>
                  <a:lnTo>
                    <a:pt x="68" y="49"/>
                  </a:lnTo>
                  <a:lnTo>
                    <a:pt x="58" y="51"/>
                  </a:lnTo>
                  <a:lnTo>
                    <a:pt x="46" y="46"/>
                  </a:lnTo>
                  <a:lnTo>
                    <a:pt x="42" y="39"/>
                  </a:lnTo>
                  <a:lnTo>
                    <a:pt x="34" y="42"/>
                  </a:lnTo>
                  <a:lnTo>
                    <a:pt x="30" y="35"/>
                  </a:lnTo>
                  <a:lnTo>
                    <a:pt x="27" y="37"/>
                  </a:lnTo>
                  <a:lnTo>
                    <a:pt x="25" y="63"/>
                  </a:lnTo>
                  <a:lnTo>
                    <a:pt x="29" y="66"/>
                  </a:lnTo>
                  <a:lnTo>
                    <a:pt x="18" y="66"/>
                  </a:lnTo>
                  <a:lnTo>
                    <a:pt x="8" y="66"/>
                  </a:lnTo>
                  <a:lnTo>
                    <a:pt x="0" y="66"/>
                  </a:lnTo>
                  <a:lnTo>
                    <a:pt x="0" y="76"/>
                  </a:lnTo>
                  <a:lnTo>
                    <a:pt x="0" y="87"/>
                  </a:lnTo>
                  <a:lnTo>
                    <a:pt x="0" y="100"/>
                  </a:lnTo>
                  <a:lnTo>
                    <a:pt x="0" y="117"/>
                  </a:lnTo>
                  <a:lnTo>
                    <a:pt x="15" y="131"/>
                  </a:lnTo>
                  <a:lnTo>
                    <a:pt x="29" y="129"/>
                  </a:lnTo>
                  <a:lnTo>
                    <a:pt x="37" y="129"/>
                  </a:lnTo>
                  <a:lnTo>
                    <a:pt x="42" y="134"/>
                  </a:lnTo>
                  <a:lnTo>
                    <a:pt x="52" y="136"/>
                  </a:lnTo>
                  <a:lnTo>
                    <a:pt x="59" y="136"/>
                  </a:lnTo>
                  <a:lnTo>
                    <a:pt x="63" y="138"/>
                  </a:lnTo>
                  <a:lnTo>
                    <a:pt x="64" y="138"/>
                  </a:lnTo>
                  <a:lnTo>
                    <a:pt x="66" y="136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5" name="Freeform 63">
              <a:extLst>
                <a:ext uri="{FF2B5EF4-FFF2-40B4-BE49-F238E27FC236}">
                  <a16:creationId xmlns:a16="http://schemas.microsoft.com/office/drawing/2014/main" id="{52C60037-0823-E74E-9FCB-BF6502D33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2750" y="2819016"/>
              <a:ext cx="163523" cy="244385"/>
            </a:xfrm>
            <a:custGeom>
              <a:avLst/>
              <a:gdLst/>
              <a:ahLst/>
              <a:cxnLst>
                <a:cxn ang="0">
                  <a:pos x="65" y="29"/>
                </a:cxn>
                <a:cxn ang="0">
                  <a:pos x="78" y="16"/>
                </a:cxn>
                <a:cxn ang="0">
                  <a:pos x="88" y="19"/>
                </a:cxn>
                <a:cxn ang="0">
                  <a:pos x="105" y="16"/>
                </a:cxn>
                <a:cxn ang="0">
                  <a:pos x="116" y="12"/>
                </a:cxn>
                <a:cxn ang="0">
                  <a:pos x="123" y="12"/>
                </a:cxn>
                <a:cxn ang="0">
                  <a:pos x="143" y="2"/>
                </a:cxn>
                <a:cxn ang="0">
                  <a:pos x="145" y="2"/>
                </a:cxn>
                <a:cxn ang="0">
                  <a:pos x="146" y="9"/>
                </a:cxn>
                <a:cxn ang="0">
                  <a:pos x="143" y="34"/>
                </a:cxn>
                <a:cxn ang="0">
                  <a:pos x="143" y="38"/>
                </a:cxn>
                <a:cxn ang="0">
                  <a:pos x="145" y="53"/>
                </a:cxn>
                <a:cxn ang="0">
                  <a:pos x="145" y="57"/>
                </a:cxn>
                <a:cxn ang="0">
                  <a:pos x="146" y="60"/>
                </a:cxn>
                <a:cxn ang="0">
                  <a:pos x="145" y="68"/>
                </a:cxn>
                <a:cxn ang="0">
                  <a:pos x="136" y="80"/>
                </a:cxn>
                <a:cxn ang="0">
                  <a:pos x="133" y="84"/>
                </a:cxn>
                <a:cxn ang="0">
                  <a:pos x="124" y="91"/>
                </a:cxn>
                <a:cxn ang="0">
                  <a:pos x="112" y="96"/>
                </a:cxn>
                <a:cxn ang="0">
                  <a:pos x="94" y="108"/>
                </a:cxn>
                <a:cxn ang="0">
                  <a:pos x="88" y="111"/>
                </a:cxn>
                <a:cxn ang="0">
                  <a:pos x="85" y="120"/>
                </a:cxn>
                <a:cxn ang="0">
                  <a:pos x="83" y="118"/>
                </a:cxn>
                <a:cxn ang="0">
                  <a:pos x="66" y="135"/>
                </a:cxn>
                <a:cxn ang="0">
                  <a:pos x="63" y="145"/>
                </a:cxn>
                <a:cxn ang="0">
                  <a:pos x="73" y="169"/>
                </a:cxn>
                <a:cxn ang="0">
                  <a:pos x="75" y="169"/>
                </a:cxn>
                <a:cxn ang="0">
                  <a:pos x="71" y="195"/>
                </a:cxn>
                <a:cxn ang="0">
                  <a:pos x="75" y="193"/>
                </a:cxn>
                <a:cxn ang="0">
                  <a:pos x="68" y="205"/>
                </a:cxn>
                <a:cxn ang="0">
                  <a:pos x="49" y="213"/>
                </a:cxn>
                <a:cxn ang="0">
                  <a:pos x="34" y="225"/>
                </a:cxn>
                <a:cxn ang="0">
                  <a:pos x="39" y="227"/>
                </a:cxn>
                <a:cxn ang="0">
                  <a:pos x="27" y="237"/>
                </a:cxn>
                <a:cxn ang="0">
                  <a:pos x="25" y="200"/>
                </a:cxn>
                <a:cxn ang="0">
                  <a:pos x="22" y="167"/>
                </a:cxn>
                <a:cxn ang="0">
                  <a:pos x="39" y="137"/>
                </a:cxn>
                <a:cxn ang="0">
                  <a:pos x="41" y="111"/>
                </a:cxn>
                <a:cxn ang="0">
                  <a:pos x="39" y="87"/>
                </a:cxn>
                <a:cxn ang="0">
                  <a:pos x="18" y="79"/>
                </a:cxn>
                <a:cxn ang="0">
                  <a:pos x="3" y="74"/>
                </a:cxn>
                <a:cxn ang="0">
                  <a:pos x="10" y="62"/>
                </a:cxn>
                <a:cxn ang="0">
                  <a:pos x="34" y="55"/>
                </a:cxn>
                <a:cxn ang="0">
                  <a:pos x="49" y="58"/>
                </a:cxn>
                <a:cxn ang="0">
                  <a:pos x="63" y="58"/>
                </a:cxn>
                <a:cxn ang="0">
                  <a:pos x="59" y="77"/>
                </a:cxn>
                <a:cxn ang="0">
                  <a:pos x="71" y="91"/>
                </a:cxn>
                <a:cxn ang="0">
                  <a:pos x="73" y="94"/>
                </a:cxn>
                <a:cxn ang="0">
                  <a:pos x="71" y="85"/>
                </a:cxn>
                <a:cxn ang="0">
                  <a:pos x="80" y="79"/>
                </a:cxn>
                <a:cxn ang="0">
                  <a:pos x="80" y="67"/>
                </a:cxn>
                <a:cxn ang="0">
                  <a:pos x="80" y="58"/>
                </a:cxn>
              </a:cxnLst>
              <a:rect l="0" t="0" r="r" b="b"/>
              <a:pathLst>
                <a:path w="147" h="238">
                  <a:moveTo>
                    <a:pt x="66" y="43"/>
                  </a:moveTo>
                  <a:lnTo>
                    <a:pt x="65" y="29"/>
                  </a:lnTo>
                  <a:lnTo>
                    <a:pt x="68" y="16"/>
                  </a:lnTo>
                  <a:lnTo>
                    <a:pt x="78" y="16"/>
                  </a:lnTo>
                  <a:lnTo>
                    <a:pt x="83" y="16"/>
                  </a:lnTo>
                  <a:lnTo>
                    <a:pt x="88" y="19"/>
                  </a:lnTo>
                  <a:lnTo>
                    <a:pt x="95" y="16"/>
                  </a:lnTo>
                  <a:lnTo>
                    <a:pt x="105" y="16"/>
                  </a:lnTo>
                  <a:lnTo>
                    <a:pt x="109" y="12"/>
                  </a:lnTo>
                  <a:lnTo>
                    <a:pt x="116" y="12"/>
                  </a:lnTo>
                  <a:lnTo>
                    <a:pt x="119" y="14"/>
                  </a:lnTo>
                  <a:lnTo>
                    <a:pt x="123" y="12"/>
                  </a:lnTo>
                  <a:lnTo>
                    <a:pt x="138" y="7"/>
                  </a:lnTo>
                  <a:lnTo>
                    <a:pt x="143" y="2"/>
                  </a:lnTo>
                  <a:lnTo>
                    <a:pt x="145" y="0"/>
                  </a:lnTo>
                  <a:lnTo>
                    <a:pt x="145" y="2"/>
                  </a:lnTo>
                  <a:lnTo>
                    <a:pt x="146" y="4"/>
                  </a:lnTo>
                  <a:lnTo>
                    <a:pt x="146" y="9"/>
                  </a:lnTo>
                  <a:lnTo>
                    <a:pt x="143" y="19"/>
                  </a:lnTo>
                  <a:lnTo>
                    <a:pt x="143" y="34"/>
                  </a:lnTo>
                  <a:lnTo>
                    <a:pt x="141" y="34"/>
                  </a:lnTo>
                  <a:lnTo>
                    <a:pt x="143" y="38"/>
                  </a:lnTo>
                  <a:lnTo>
                    <a:pt x="143" y="53"/>
                  </a:lnTo>
                  <a:lnTo>
                    <a:pt x="145" y="53"/>
                  </a:lnTo>
                  <a:lnTo>
                    <a:pt x="146" y="55"/>
                  </a:lnTo>
                  <a:lnTo>
                    <a:pt x="145" y="57"/>
                  </a:lnTo>
                  <a:lnTo>
                    <a:pt x="146" y="58"/>
                  </a:lnTo>
                  <a:lnTo>
                    <a:pt x="146" y="60"/>
                  </a:lnTo>
                  <a:lnTo>
                    <a:pt x="143" y="67"/>
                  </a:lnTo>
                  <a:lnTo>
                    <a:pt x="145" y="68"/>
                  </a:lnTo>
                  <a:lnTo>
                    <a:pt x="143" y="72"/>
                  </a:lnTo>
                  <a:lnTo>
                    <a:pt x="136" y="80"/>
                  </a:lnTo>
                  <a:lnTo>
                    <a:pt x="133" y="82"/>
                  </a:lnTo>
                  <a:lnTo>
                    <a:pt x="133" y="84"/>
                  </a:lnTo>
                  <a:lnTo>
                    <a:pt x="133" y="85"/>
                  </a:lnTo>
                  <a:lnTo>
                    <a:pt x="124" y="91"/>
                  </a:lnTo>
                  <a:lnTo>
                    <a:pt x="123" y="94"/>
                  </a:lnTo>
                  <a:lnTo>
                    <a:pt x="112" y="96"/>
                  </a:lnTo>
                  <a:lnTo>
                    <a:pt x="100" y="103"/>
                  </a:lnTo>
                  <a:lnTo>
                    <a:pt x="94" y="108"/>
                  </a:lnTo>
                  <a:lnTo>
                    <a:pt x="94" y="109"/>
                  </a:lnTo>
                  <a:lnTo>
                    <a:pt x="88" y="111"/>
                  </a:lnTo>
                  <a:lnTo>
                    <a:pt x="90" y="113"/>
                  </a:lnTo>
                  <a:lnTo>
                    <a:pt x="85" y="120"/>
                  </a:lnTo>
                  <a:lnTo>
                    <a:pt x="83" y="120"/>
                  </a:lnTo>
                  <a:lnTo>
                    <a:pt x="83" y="118"/>
                  </a:lnTo>
                  <a:lnTo>
                    <a:pt x="82" y="121"/>
                  </a:lnTo>
                  <a:lnTo>
                    <a:pt x="66" y="135"/>
                  </a:lnTo>
                  <a:lnTo>
                    <a:pt x="63" y="135"/>
                  </a:lnTo>
                  <a:lnTo>
                    <a:pt x="63" y="145"/>
                  </a:lnTo>
                  <a:lnTo>
                    <a:pt x="68" y="150"/>
                  </a:lnTo>
                  <a:lnTo>
                    <a:pt x="73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84"/>
                  </a:lnTo>
                  <a:lnTo>
                    <a:pt x="71" y="195"/>
                  </a:lnTo>
                  <a:lnTo>
                    <a:pt x="71" y="198"/>
                  </a:lnTo>
                  <a:lnTo>
                    <a:pt x="75" y="193"/>
                  </a:lnTo>
                  <a:lnTo>
                    <a:pt x="73" y="198"/>
                  </a:lnTo>
                  <a:lnTo>
                    <a:pt x="68" y="205"/>
                  </a:lnTo>
                  <a:lnTo>
                    <a:pt x="65" y="208"/>
                  </a:lnTo>
                  <a:lnTo>
                    <a:pt x="49" y="213"/>
                  </a:lnTo>
                  <a:lnTo>
                    <a:pt x="37" y="220"/>
                  </a:lnTo>
                  <a:lnTo>
                    <a:pt x="34" y="225"/>
                  </a:lnTo>
                  <a:lnTo>
                    <a:pt x="37" y="230"/>
                  </a:lnTo>
                  <a:lnTo>
                    <a:pt x="39" y="227"/>
                  </a:lnTo>
                  <a:lnTo>
                    <a:pt x="39" y="237"/>
                  </a:lnTo>
                  <a:lnTo>
                    <a:pt x="27" y="237"/>
                  </a:lnTo>
                  <a:lnTo>
                    <a:pt x="27" y="222"/>
                  </a:lnTo>
                  <a:lnTo>
                    <a:pt x="25" y="200"/>
                  </a:lnTo>
                  <a:lnTo>
                    <a:pt x="20" y="174"/>
                  </a:lnTo>
                  <a:lnTo>
                    <a:pt x="22" y="167"/>
                  </a:lnTo>
                  <a:lnTo>
                    <a:pt x="29" y="162"/>
                  </a:lnTo>
                  <a:lnTo>
                    <a:pt x="39" y="137"/>
                  </a:lnTo>
                  <a:lnTo>
                    <a:pt x="37" y="121"/>
                  </a:lnTo>
                  <a:lnTo>
                    <a:pt x="41" y="111"/>
                  </a:lnTo>
                  <a:lnTo>
                    <a:pt x="41" y="99"/>
                  </a:lnTo>
                  <a:lnTo>
                    <a:pt x="39" y="87"/>
                  </a:lnTo>
                  <a:lnTo>
                    <a:pt x="36" y="85"/>
                  </a:lnTo>
                  <a:lnTo>
                    <a:pt x="18" y="79"/>
                  </a:lnTo>
                  <a:lnTo>
                    <a:pt x="3" y="79"/>
                  </a:lnTo>
                  <a:lnTo>
                    <a:pt x="3" y="74"/>
                  </a:lnTo>
                  <a:lnTo>
                    <a:pt x="0" y="65"/>
                  </a:lnTo>
                  <a:lnTo>
                    <a:pt x="10" y="62"/>
                  </a:lnTo>
                  <a:lnTo>
                    <a:pt x="22" y="58"/>
                  </a:lnTo>
                  <a:lnTo>
                    <a:pt x="34" y="55"/>
                  </a:lnTo>
                  <a:lnTo>
                    <a:pt x="44" y="51"/>
                  </a:lnTo>
                  <a:lnTo>
                    <a:pt x="49" y="58"/>
                  </a:lnTo>
                  <a:lnTo>
                    <a:pt x="59" y="57"/>
                  </a:lnTo>
                  <a:lnTo>
                    <a:pt x="63" y="58"/>
                  </a:lnTo>
                  <a:lnTo>
                    <a:pt x="63" y="68"/>
                  </a:lnTo>
                  <a:lnTo>
                    <a:pt x="59" y="77"/>
                  </a:lnTo>
                  <a:lnTo>
                    <a:pt x="61" y="82"/>
                  </a:lnTo>
                  <a:lnTo>
                    <a:pt x="71" y="91"/>
                  </a:lnTo>
                  <a:lnTo>
                    <a:pt x="70" y="94"/>
                  </a:lnTo>
                  <a:lnTo>
                    <a:pt x="73" y="94"/>
                  </a:lnTo>
                  <a:lnTo>
                    <a:pt x="73" y="91"/>
                  </a:lnTo>
                  <a:lnTo>
                    <a:pt x="71" y="85"/>
                  </a:lnTo>
                  <a:lnTo>
                    <a:pt x="73" y="82"/>
                  </a:lnTo>
                  <a:lnTo>
                    <a:pt x="80" y="79"/>
                  </a:lnTo>
                  <a:lnTo>
                    <a:pt x="82" y="70"/>
                  </a:lnTo>
                  <a:lnTo>
                    <a:pt x="80" y="67"/>
                  </a:lnTo>
                  <a:lnTo>
                    <a:pt x="82" y="63"/>
                  </a:lnTo>
                  <a:lnTo>
                    <a:pt x="80" y="58"/>
                  </a:lnTo>
                  <a:lnTo>
                    <a:pt x="66" y="43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6" name="Freeform 64">
              <a:extLst>
                <a:ext uri="{FF2B5EF4-FFF2-40B4-BE49-F238E27FC236}">
                  <a16:creationId xmlns:a16="http://schemas.microsoft.com/office/drawing/2014/main" id="{480A1AD8-2C15-C04E-B500-12387F9B2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3909" y="2805667"/>
              <a:ext cx="51170" cy="110897"/>
            </a:xfrm>
            <a:custGeom>
              <a:avLst/>
              <a:gdLst/>
              <a:ahLst/>
              <a:cxnLst>
                <a:cxn ang="0">
                  <a:pos x="29" y="56"/>
                </a:cxn>
                <a:cxn ang="0">
                  <a:pos x="29" y="59"/>
                </a:cxn>
                <a:cxn ang="0">
                  <a:pos x="33" y="61"/>
                </a:cxn>
                <a:cxn ang="0">
                  <a:pos x="34" y="70"/>
                </a:cxn>
                <a:cxn ang="0">
                  <a:pos x="29" y="64"/>
                </a:cxn>
                <a:cxn ang="0">
                  <a:pos x="29" y="66"/>
                </a:cxn>
                <a:cxn ang="0">
                  <a:pos x="26" y="66"/>
                </a:cxn>
                <a:cxn ang="0">
                  <a:pos x="26" y="59"/>
                </a:cxn>
                <a:cxn ang="0">
                  <a:pos x="22" y="58"/>
                </a:cxn>
                <a:cxn ang="0">
                  <a:pos x="21" y="46"/>
                </a:cxn>
                <a:cxn ang="0">
                  <a:pos x="17" y="41"/>
                </a:cxn>
                <a:cxn ang="0">
                  <a:pos x="22" y="32"/>
                </a:cxn>
                <a:cxn ang="0">
                  <a:pos x="21" y="13"/>
                </a:cxn>
                <a:cxn ang="0">
                  <a:pos x="17" y="6"/>
                </a:cxn>
                <a:cxn ang="0">
                  <a:pos x="17" y="3"/>
                </a:cxn>
                <a:cxn ang="0">
                  <a:pos x="16" y="1"/>
                </a:cxn>
                <a:cxn ang="0">
                  <a:pos x="10" y="3"/>
                </a:cxn>
                <a:cxn ang="0">
                  <a:pos x="4" y="0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9" y="5"/>
                </a:cxn>
                <a:cxn ang="0">
                  <a:pos x="14" y="17"/>
                </a:cxn>
                <a:cxn ang="0">
                  <a:pos x="10" y="20"/>
                </a:cxn>
                <a:cxn ang="0">
                  <a:pos x="9" y="29"/>
                </a:cxn>
                <a:cxn ang="0">
                  <a:pos x="9" y="39"/>
                </a:cxn>
                <a:cxn ang="0">
                  <a:pos x="10" y="42"/>
                </a:cxn>
                <a:cxn ang="0">
                  <a:pos x="5" y="46"/>
                </a:cxn>
                <a:cxn ang="0">
                  <a:pos x="4" y="52"/>
                </a:cxn>
                <a:cxn ang="0">
                  <a:pos x="0" y="59"/>
                </a:cxn>
                <a:cxn ang="0">
                  <a:pos x="4" y="63"/>
                </a:cxn>
                <a:cxn ang="0">
                  <a:pos x="7" y="64"/>
                </a:cxn>
                <a:cxn ang="0">
                  <a:pos x="12" y="71"/>
                </a:cxn>
                <a:cxn ang="0">
                  <a:pos x="22" y="70"/>
                </a:cxn>
                <a:cxn ang="0">
                  <a:pos x="26" y="71"/>
                </a:cxn>
                <a:cxn ang="0">
                  <a:pos x="26" y="81"/>
                </a:cxn>
                <a:cxn ang="0">
                  <a:pos x="22" y="90"/>
                </a:cxn>
                <a:cxn ang="0">
                  <a:pos x="24" y="95"/>
                </a:cxn>
                <a:cxn ang="0">
                  <a:pos x="34" y="104"/>
                </a:cxn>
                <a:cxn ang="0">
                  <a:pos x="33" y="107"/>
                </a:cxn>
                <a:cxn ang="0">
                  <a:pos x="36" y="107"/>
                </a:cxn>
                <a:cxn ang="0">
                  <a:pos x="36" y="104"/>
                </a:cxn>
                <a:cxn ang="0">
                  <a:pos x="34" y="98"/>
                </a:cxn>
                <a:cxn ang="0">
                  <a:pos x="36" y="95"/>
                </a:cxn>
                <a:cxn ang="0">
                  <a:pos x="43" y="92"/>
                </a:cxn>
                <a:cxn ang="0">
                  <a:pos x="45" y="83"/>
                </a:cxn>
                <a:cxn ang="0">
                  <a:pos x="43" y="80"/>
                </a:cxn>
                <a:cxn ang="0">
                  <a:pos x="45" y="76"/>
                </a:cxn>
                <a:cxn ang="0">
                  <a:pos x="43" y="71"/>
                </a:cxn>
                <a:cxn ang="0">
                  <a:pos x="29" y="56"/>
                </a:cxn>
              </a:cxnLst>
              <a:rect l="0" t="0" r="r" b="b"/>
              <a:pathLst>
                <a:path w="46" h="108">
                  <a:moveTo>
                    <a:pt x="29" y="56"/>
                  </a:moveTo>
                  <a:lnTo>
                    <a:pt x="29" y="59"/>
                  </a:lnTo>
                  <a:lnTo>
                    <a:pt x="33" y="61"/>
                  </a:lnTo>
                  <a:lnTo>
                    <a:pt x="34" y="70"/>
                  </a:lnTo>
                  <a:lnTo>
                    <a:pt x="29" y="64"/>
                  </a:lnTo>
                  <a:lnTo>
                    <a:pt x="29" y="66"/>
                  </a:lnTo>
                  <a:lnTo>
                    <a:pt x="26" y="66"/>
                  </a:lnTo>
                  <a:lnTo>
                    <a:pt x="26" y="59"/>
                  </a:lnTo>
                  <a:lnTo>
                    <a:pt x="22" y="58"/>
                  </a:lnTo>
                  <a:lnTo>
                    <a:pt x="21" y="46"/>
                  </a:lnTo>
                  <a:lnTo>
                    <a:pt x="17" y="41"/>
                  </a:lnTo>
                  <a:lnTo>
                    <a:pt x="22" y="32"/>
                  </a:lnTo>
                  <a:lnTo>
                    <a:pt x="21" y="13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6" y="1"/>
                  </a:lnTo>
                  <a:lnTo>
                    <a:pt x="10" y="3"/>
                  </a:lnTo>
                  <a:lnTo>
                    <a:pt x="4" y="0"/>
                  </a:lnTo>
                  <a:lnTo>
                    <a:pt x="5" y="3"/>
                  </a:lnTo>
                  <a:lnTo>
                    <a:pt x="7" y="3"/>
                  </a:lnTo>
                  <a:lnTo>
                    <a:pt x="9" y="5"/>
                  </a:lnTo>
                  <a:lnTo>
                    <a:pt x="14" y="17"/>
                  </a:lnTo>
                  <a:lnTo>
                    <a:pt x="10" y="20"/>
                  </a:lnTo>
                  <a:lnTo>
                    <a:pt x="9" y="29"/>
                  </a:lnTo>
                  <a:lnTo>
                    <a:pt x="9" y="39"/>
                  </a:lnTo>
                  <a:lnTo>
                    <a:pt x="10" y="42"/>
                  </a:lnTo>
                  <a:lnTo>
                    <a:pt x="5" y="46"/>
                  </a:lnTo>
                  <a:lnTo>
                    <a:pt x="4" y="52"/>
                  </a:lnTo>
                  <a:lnTo>
                    <a:pt x="0" y="59"/>
                  </a:lnTo>
                  <a:lnTo>
                    <a:pt x="4" y="63"/>
                  </a:lnTo>
                  <a:lnTo>
                    <a:pt x="7" y="64"/>
                  </a:lnTo>
                  <a:lnTo>
                    <a:pt x="12" y="71"/>
                  </a:lnTo>
                  <a:lnTo>
                    <a:pt x="22" y="70"/>
                  </a:lnTo>
                  <a:lnTo>
                    <a:pt x="26" y="71"/>
                  </a:lnTo>
                  <a:lnTo>
                    <a:pt x="26" y="81"/>
                  </a:lnTo>
                  <a:lnTo>
                    <a:pt x="22" y="90"/>
                  </a:lnTo>
                  <a:lnTo>
                    <a:pt x="24" y="95"/>
                  </a:lnTo>
                  <a:lnTo>
                    <a:pt x="34" y="104"/>
                  </a:lnTo>
                  <a:lnTo>
                    <a:pt x="33" y="107"/>
                  </a:lnTo>
                  <a:lnTo>
                    <a:pt x="36" y="107"/>
                  </a:lnTo>
                  <a:lnTo>
                    <a:pt x="36" y="104"/>
                  </a:lnTo>
                  <a:lnTo>
                    <a:pt x="34" y="98"/>
                  </a:lnTo>
                  <a:lnTo>
                    <a:pt x="36" y="95"/>
                  </a:lnTo>
                  <a:lnTo>
                    <a:pt x="43" y="92"/>
                  </a:lnTo>
                  <a:lnTo>
                    <a:pt x="45" y="83"/>
                  </a:lnTo>
                  <a:lnTo>
                    <a:pt x="43" y="80"/>
                  </a:lnTo>
                  <a:lnTo>
                    <a:pt x="45" y="76"/>
                  </a:lnTo>
                  <a:lnTo>
                    <a:pt x="43" y="71"/>
                  </a:lnTo>
                  <a:lnTo>
                    <a:pt x="29" y="56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7" name="Freeform 65">
              <a:extLst>
                <a:ext uri="{FF2B5EF4-FFF2-40B4-BE49-F238E27FC236}">
                  <a16:creationId xmlns:a16="http://schemas.microsoft.com/office/drawing/2014/main" id="{C4D6A5B5-3FE8-C344-ACC4-CF5E61F46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2819" y="2607489"/>
              <a:ext cx="123476" cy="130407"/>
            </a:xfrm>
            <a:custGeom>
              <a:avLst/>
              <a:gdLst/>
              <a:ahLst/>
              <a:cxnLst>
                <a:cxn ang="0">
                  <a:pos x="4" y="77"/>
                </a:cxn>
                <a:cxn ang="0">
                  <a:pos x="2" y="73"/>
                </a:cxn>
                <a:cxn ang="0">
                  <a:pos x="4" y="70"/>
                </a:cxn>
                <a:cxn ang="0">
                  <a:pos x="7" y="70"/>
                </a:cxn>
                <a:cxn ang="0">
                  <a:pos x="9" y="68"/>
                </a:cxn>
                <a:cxn ang="0">
                  <a:pos x="12" y="68"/>
                </a:cxn>
                <a:cxn ang="0">
                  <a:pos x="12" y="66"/>
                </a:cxn>
                <a:cxn ang="0">
                  <a:pos x="9" y="66"/>
                </a:cxn>
                <a:cxn ang="0">
                  <a:pos x="7" y="66"/>
                </a:cxn>
                <a:cxn ang="0">
                  <a:pos x="5" y="68"/>
                </a:cxn>
                <a:cxn ang="0">
                  <a:pos x="4" y="68"/>
                </a:cxn>
                <a:cxn ang="0">
                  <a:pos x="2" y="66"/>
                </a:cxn>
                <a:cxn ang="0">
                  <a:pos x="0" y="63"/>
                </a:cxn>
                <a:cxn ang="0">
                  <a:pos x="0" y="60"/>
                </a:cxn>
                <a:cxn ang="0">
                  <a:pos x="14" y="43"/>
                </a:cxn>
                <a:cxn ang="0">
                  <a:pos x="16" y="34"/>
                </a:cxn>
                <a:cxn ang="0">
                  <a:pos x="14" y="26"/>
                </a:cxn>
                <a:cxn ang="0">
                  <a:pos x="9" y="20"/>
                </a:cxn>
                <a:cxn ang="0">
                  <a:pos x="5" y="10"/>
                </a:cxn>
                <a:cxn ang="0">
                  <a:pos x="0" y="7"/>
                </a:cxn>
                <a:cxn ang="0">
                  <a:pos x="7" y="0"/>
                </a:cxn>
                <a:cxn ang="0">
                  <a:pos x="26" y="0"/>
                </a:cxn>
                <a:cxn ang="0">
                  <a:pos x="38" y="2"/>
                </a:cxn>
                <a:cxn ang="0">
                  <a:pos x="55" y="12"/>
                </a:cxn>
                <a:cxn ang="0">
                  <a:pos x="69" y="15"/>
                </a:cxn>
                <a:cxn ang="0">
                  <a:pos x="75" y="15"/>
                </a:cxn>
                <a:cxn ang="0">
                  <a:pos x="80" y="12"/>
                </a:cxn>
                <a:cxn ang="0">
                  <a:pos x="86" y="8"/>
                </a:cxn>
                <a:cxn ang="0">
                  <a:pos x="94" y="5"/>
                </a:cxn>
                <a:cxn ang="0">
                  <a:pos x="103" y="10"/>
                </a:cxn>
                <a:cxn ang="0">
                  <a:pos x="110" y="10"/>
                </a:cxn>
                <a:cxn ang="0">
                  <a:pos x="104" y="19"/>
                </a:cxn>
                <a:cxn ang="0">
                  <a:pos x="98" y="26"/>
                </a:cxn>
                <a:cxn ang="0">
                  <a:pos x="98" y="37"/>
                </a:cxn>
                <a:cxn ang="0">
                  <a:pos x="98" y="49"/>
                </a:cxn>
                <a:cxn ang="0">
                  <a:pos x="98" y="63"/>
                </a:cxn>
                <a:cxn ang="0">
                  <a:pos x="98" y="75"/>
                </a:cxn>
                <a:cxn ang="0">
                  <a:pos x="104" y="85"/>
                </a:cxn>
                <a:cxn ang="0">
                  <a:pos x="101" y="89"/>
                </a:cxn>
                <a:cxn ang="0">
                  <a:pos x="98" y="90"/>
                </a:cxn>
                <a:cxn ang="0">
                  <a:pos x="96" y="95"/>
                </a:cxn>
                <a:cxn ang="0">
                  <a:pos x="91" y="99"/>
                </a:cxn>
                <a:cxn ang="0">
                  <a:pos x="89" y="101"/>
                </a:cxn>
                <a:cxn ang="0">
                  <a:pos x="79" y="123"/>
                </a:cxn>
                <a:cxn ang="0">
                  <a:pos x="75" y="126"/>
                </a:cxn>
                <a:cxn ang="0">
                  <a:pos x="55" y="114"/>
                </a:cxn>
                <a:cxn ang="0">
                  <a:pos x="53" y="104"/>
                </a:cxn>
                <a:cxn ang="0">
                  <a:pos x="4" y="77"/>
                </a:cxn>
              </a:cxnLst>
              <a:rect l="0" t="0" r="r" b="b"/>
              <a:pathLst>
                <a:path w="111" h="127">
                  <a:moveTo>
                    <a:pt x="4" y="77"/>
                  </a:moveTo>
                  <a:lnTo>
                    <a:pt x="2" y="73"/>
                  </a:lnTo>
                  <a:lnTo>
                    <a:pt x="4" y="70"/>
                  </a:lnTo>
                  <a:lnTo>
                    <a:pt x="7" y="70"/>
                  </a:lnTo>
                  <a:lnTo>
                    <a:pt x="9" y="68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9" y="66"/>
                  </a:lnTo>
                  <a:lnTo>
                    <a:pt x="7" y="66"/>
                  </a:lnTo>
                  <a:lnTo>
                    <a:pt x="5" y="68"/>
                  </a:lnTo>
                  <a:lnTo>
                    <a:pt x="4" y="68"/>
                  </a:lnTo>
                  <a:lnTo>
                    <a:pt x="2" y="66"/>
                  </a:lnTo>
                  <a:lnTo>
                    <a:pt x="0" y="63"/>
                  </a:lnTo>
                  <a:lnTo>
                    <a:pt x="0" y="60"/>
                  </a:lnTo>
                  <a:lnTo>
                    <a:pt x="14" y="43"/>
                  </a:lnTo>
                  <a:lnTo>
                    <a:pt x="16" y="34"/>
                  </a:lnTo>
                  <a:lnTo>
                    <a:pt x="14" y="26"/>
                  </a:lnTo>
                  <a:lnTo>
                    <a:pt x="9" y="20"/>
                  </a:lnTo>
                  <a:lnTo>
                    <a:pt x="5" y="10"/>
                  </a:lnTo>
                  <a:lnTo>
                    <a:pt x="0" y="7"/>
                  </a:lnTo>
                  <a:lnTo>
                    <a:pt x="7" y="0"/>
                  </a:lnTo>
                  <a:lnTo>
                    <a:pt x="26" y="0"/>
                  </a:lnTo>
                  <a:lnTo>
                    <a:pt x="38" y="2"/>
                  </a:lnTo>
                  <a:lnTo>
                    <a:pt x="55" y="12"/>
                  </a:lnTo>
                  <a:lnTo>
                    <a:pt x="69" y="15"/>
                  </a:lnTo>
                  <a:lnTo>
                    <a:pt x="75" y="15"/>
                  </a:lnTo>
                  <a:lnTo>
                    <a:pt x="80" y="12"/>
                  </a:lnTo>
                  <a:lnTo>
                    <a:pt x="86" y="8"/>
                  </a:lnTo>
                  <a:lnTo>
                    <a:pt x="94" y="5"/>
                  </a:lnTo>
                  <a:lnTo>
                    <a:pt x="103" y="10"/>
                  </a:lnTo>
                  <a:lnTo>
                    <a:pt x="110" y="10"/>
                  </a:lnTo>
                  <a:lnTo>
                    <a:pt x="104" y="19"/>
                  </a:lnTo>
                  <a:lnTo>
                    <a:pt x="98" y="26"/>
                  </a:lnTo>
                  <a:lnTo>
                    <a:pt x="98" y="37"/>
                  </a:lnTo>
                  <a:lnTo>
                    <a:pt x="98" y="49"/>
                  </a:lnTo>
                  <a:lnTo>
                    <a:pt x="98" y="63"/>
                  </a:lnTo>
                  <a:lnTo>
                    <a:pt x="98" y="75"/>
                  </a:lnTo>
                  <a:lnTo>
                    <a:pt x="104" y="85"/>
                  </a:lnTo>
                  <a:lnTo>
                    <a:pt x="101" y="89"/>
                  </a:lnTo>
                  <a:lnTo>
                    <a:pt x="98" y="90"/>
                  </a:lnTo>
                  <a:lnTo>
                    <a:pt x="96" y="95"/>
                  </a:lnTo>
                  <a:lnTo>
                    <a:pt x="91" y="99"/>
                  </a:lnTo>
                  <a:lnTo>
                    <a:pt x="89" y="101"/>
                  </a:lnTo>
                  <a:lnTo>
                    <a:pt x="79" y="123"/>
                  </a:lnTo>
                  <a:lnTo>
                    <a:pt x="75" y="126"/>
                  </a:lnTo>
                  <a:lnTo>
                    <a:pt x="55" y="114"/>
                  </a:lnTo>
                  <a:lnTo>
                    <a:pt x="53" y="104"/>
                  </a:lnTo>
                  <a:lnTo>
                    <a:pt x="4" y="77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8" name="Freeform 66">
              <a:extLst>
                <a:ext uri="{FF2B5EF4-FFF2-40B4-BE49-F238E27FC236}">
                  <a16:creationId xmlns:a16="http://schemas.microsoft.com/office/drawing/2014/main" id="{13D1DEE4-BAC3-AC42-98CA-8055F4254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188" y="2686555"/>
              <a:ext cx="167972" cy="152997"/>
            </a:xfrm>
            <a:custGeom>
              <a:avLst/>
              <a:gdLst/>
              <a:ahLst/>
              <a:cxnLst>
                <a:cxn ang="0">
                  <a:pos x="13" y="87"/>
                </a:cxn>
                <a:cxn ang="0">
                  <a:pos x="8" y="76"/>
                </a:cxn>
                <a:cxn ang="0">
                  <a:pos x="1" y="70"/>
                </a:cxn>
                <a:cxn ang="0">
                  <a:pos x="3" y="58"/>
                </a:cxn>
                <a:cxn ang="0">
                  <a:pos x="0" y="46"/>
                </a:cxn>
                <a:cxn ang="0">
                  <a:pos x="17" y="29"/>
                </a:cxn>
                <a:cxn ang="0">
                  <a:pos x="12" y="24"/>
                </a:cxn>
                <a:cxn ang="0">
                  <a:pos x="18" y="12"/>
                </a:cxn>
                <a:cxn ang="0">
                  <a:pos x="30" y="0"/>
                </a:cxn>
                <a:cxn ang="0">
                  <a:pos x="29" y="8"/>
                </a:cxn>
                <a:cxn ang="0">
                  <a:pos x="30" y="20"/>
                </a:cxn>
                <a:cxn ang="0">
                  <a:pos x="30" y="24"/>
                </a:cxn>
                <a:cxn ang="0">
                  <a:pos x="34" y="20"/>
                </a:cxn>
                <a:cxn ang="0">
                  <a:pos x="35" y="18"/>
                </a:cxn>
                <a:cxn ang="0">
                  <a:pos x="37" y="18"/>
                </a:cxn>
                <a:cxn ang="0">
                  <a:pos x="42" y="22"/>
                </a:cxn>
                <a:cxn ang="0">
                  <a:pos x="44" y="25"/>
                </a:cxn>
                <a:cxn ang="0">
                  <a:pos x="46" y="22"/>
                </a:cxn>
                <a:cxn ang="0">
                  <a:pos x="51" y="20"/>
                </a:cxn>
                <a:cxn ang="0">
                  <a:pos x="54" y="18"/>
                </a:cxn>
                <a:cxn ang="0">
                  <a:pos x="56" y="15"/>
                </a:cxn>
                <a:cxn ang="0">
                  <a:pos x="51" y="15"/>
                </a:cxn>
                <a:cxn ang="0">
                  <a:pos x="54" y="12"/>
                </a:cxn>
                <a:cxn ang="0">
                  <a:pos x="54" y="10"/>
                </a:cxn>
                <a:cxn ang="0">
                  <a:pos x="58" y="8"/>
                </a:cxn>
                <a:cxn ang="0">
                  <a:pos x="59" y="6"/>
                </a:cxn>
                <a:cxn ang="0">
                  <a:pos x="61" y="5"/>
                </a:cxn>
                <a:cxn ang="0">
                  <a:pos x="59" y="1"/>
                </a:cxn>
                <a:cxn ang="0">
                  <a:pos x="63" y="0"/>
                </a:cxn>
                <a:cxn ang="0">
                  <a:pos x="114" y="37"/>
                </a:cxn>
                <a:cxn ang="0">
                  <a:pos x="128" y="70"/>
                </a:cxn>
                <a:cxn ang="0">
                  <a:pos x="138" y="83"/>
                </a:cxn>
                <a:cxn ang="0">
                  <a:pos x="136" y="95"/>
                </a:cxn>
                <a:cxn ang="0">
                  <a:pos x="134" y="99"/>
                </a:cxn>
                <a:cxn ang="0">
                  <a:pos x="136" y="107"/>
                </a:cxn>
                <a:cxn ang="0">
                  <a:pos x="141" y="124"/>
                </a:cxn>
                <a:cxn ang="0">
                  <a:pos x="148" y="131"/>
                </a:cxn>
                <a:cxn ang="0">
                  <a:pos x="128" y="141"/>
                </a:cxn>
                <a:cxn ang="0">
                  <a:pos x="121" y="141"/>
                </a:cxn>
                <a:cxn ang="0">
                  <a:pos x="110" y="145"/>
                </a:cxn>
                <a:cxn ang="0">
                  <a:pos x="93" y="148"/>
                </a:cxn>
                <a:cxn ang="0">
                  <a:pos x="83" y="145"/>
                </a:cxn>
                <a:cxn ang="0">
                  <a:pos x="70" y="139"/>
                </a:cxn>
                <a:cxn ang="0">
                  <a:pos x="63" y="119"/>
                </a:cxn>
                <a:cxn ang="0">
                  <a:pos x="59" y="119"/>
                </a:cxn>
                <a:cxn ang="0">
                  <a:pos x="52" y="119"/>
                </a:cxn>
                <a:cxn ang="0">
                  <a:pos x="30" y="109"/>
                </a:cxn>
                <a:cxn ang="0">
                  <a:pos x="20" y="104"/>
                </a:cxn>
              </a:cxnLst>
              <a:rect l="0" t="0" r="r" b="b"/>
              <a:pathLst>
                <a:path w="151" h="149">
                  <a:moveTo>
                    <a:pt x="20" y="104"/>
                  </a:moveTo>
                  <a:lnTo>
                    <a:pt x="13" y="87"/>
                  </a:lnTo>
                  <a:lnTo>
                    <a:pt x="13" y="82"/>
                  </a:lnTo>
                  <a:lnTo>
                    <a:pt x="8" y="76"/>
                  </a:lnTo>
                  <a:lnTo>
                    <a:pt x="3" y="73"/>
                  </a:lnTo>
                  <a:lnTo>
                    <a:pt x="1" y="70"/>
                  </a:lnTo>
                  <a:lnTo>
                    <a:pt x="5" y="68"/>
                  </a:lnTo>
                  <a:lnTo>
                    <a:pt x="3" y="58"/>
                  </a:lnTo>
                  <a:lnTo>
                    <a:pt x="1" y="54"/>
                  </a:lnTo>
                  <a:lnTo>
                    <a:pt x="0" y="46"/>
                  </a:lnTo>
                  <a:lnTo>
                    <a:pt x="8" y="44"/>
                  </a:lnTo>
                  <a:lnTo>
                    <a:pt x="17" y="29"/>
                  </a:lnTo>
                  <a:lnTo>
                    <a:pt x="17" y="25"/>
                  </a:lnTo>
                  <a:lnTo>
                    <a:pt x="12" y="24"/>
                  </a:lnTo>
                  <a:lnTo>
                    <a:pt x="15" y="18"/>
                  </a:lnTo>
                  <a:lnTo>
                    <a:pt x="18" y="12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0" y="5"/>
                  </a:lnTo>
                  <a:lnTo>
                    <a:pt x="29" y="8"/>
                  </a:lnTo>
                  <a:lnTo>
                    <a:pt x="29" y="13"/>
                  </a:lnTo>
                  <a:lnTo>
                    <a:pt x="30" y="20"/>
                  </a:lnTo>
                  <a:lnTo>
                    <a:pt x="30" y="22"/>
                  </a:lnTo>
                  <a:lnTo>
                    <a:pt x="30" y="24"/>
                  </a:lnTo>
                  <a:lnTo>
                    <a:pt x="34" y="24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7" y="18"/>
                  </a:lnTo>
                  <a:lnTo>
                    <a:pt x="41" y="20"/>
                  </a:lnTo>
                  <a:lnTo>
                    <a:pt x="42" y="22"/>
                  </a:lnTo>
                  <a:lnTo>
                    <a:pt x="44" y="20"/>
                  </a:lnTo>
                  <a:lnTo>
                    <a:pt x="44" y="25"/>
                  </a:lnTo>
                  <a:lnTo>
                    <a:pt x="46" y="24"/>
                  </a:lnTo>
                  <a:lnTo>
                    <a:pt x="46" y="22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2" y="20"/>
                  </a:lnTo>
                  <a:lnTo>
                    <a:pt x="54" y="18"/>
                  </a:lnTo>
                  <a:lnTo>
                    <a:pt x="58" y="17"/>
                  </a:lnTo>
                  <a:lnTo>
                    <a:pt x="56" y="15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1" y="13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1" y="3"/>
                  </a:lnTo>
                  <a:lnTo>
                    <a:pt x="59" y="1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112" y="27"/>
                  </a:lnTo>
                  <a:lnTo>
                    <a:pt x="114" y="37"/>
                  </a:lnTo>
                  <a:lnTo>
                    <a:pt x="134" y="49"/>
                  </a:lnTo>
                  <a:lnTo>
                    <a:pt x="128" y="70"/>
                  </a:lnTo>
                  <a:lnTo>
                    <a:pt x="128" y="71"/>
                  </a:lnTo>
                  <a:lnTo>
                    <a:pt x="138" y="83"/>
                  </a:lnTo>
                  <a:lnTo>
                    <a:pt x="134" y="92"/>
                  </a:lnTo>
                  <a:lnTo>
                    <a:pt x="136" y="95"/>
                  </a:lnTo>
                  <a:lnTo>
                    <a:pt x="136" y="99"/>
                  </a:lnTo>
                  <a:lnTo>
                    <a:pt x="134" y="99"/>
                  </a:lnTo>
                  <a:lnTo>
                    <a:pt x="133" y="100"/>
                  </a:lnTo>
                  <a:lnTo>
                    <a:pt x="136" y="107"/>
                  </a:lnTo>
                  <a:lnTo>
                    <a:pt x="139" y="112"/>
                  </a:lnTo>
                  <a:lnTo>
                    <a:pt x="141" y="124"/>
                  </a:lnTo>
                  <a:lnTo>
                    <a:pt x="150" y="129"/>
                  </a:lnTo>
                  <a:lnTo>
                    <a:pt x="148" y="131"/>
                  </a:lnTo>
                  <a:lnTo>
                    <a:pt x="143" y="136"/>
                  </a:lnTo>
                  <a:lnTo>
                    <a:pt x="128" y="141"/>
                  </a:lnTo>
                  <a:lnTo>
                    <a:pt x="124" y="143"/>
                  </a:lnTo>
                  <a:lnTo>
                    <a:pt x="121" y="141"/>
                  </a:lnTo>
                  <a:lnTo>
                    <a:pt x="114" y="141"/>
                  </a:lnTo>
                  <a:lnTo>
                    <a:pt x="110" y="145"/>
                  </a:lnTo>
                  <a:lnTo>
                    <a:pt x="100" y="145"/>
                  </a:lnTo>
                  <a:lnTo>
                    <a:pt x="93" y="148"/>
                  </a:lnTo>
                  <a:lnTo>
                    <a:pt x="88" y="145"/>
                  </a:lnTo>
                  <a:lnTo>
                    <a:pt x="83" y="145"/>
                  </a:lnTo>
                  <a:lnTo>
                    <a:pt x="73" y="145"/>
                  </a:lnTo>
                  <a:lnTo>
                    <a:pt x="70" y="139"/>
                  </a:lnTo>
                  <a:lnTo>
                    <a:pt x="68" y="122"/>
                  </a:lnTo>
                  <a:lnTo>
                    <a:pt x="63" y="119"/>
                  </a:lnTo>
                  <a:lnTo>
                    <a:pt x="59" y="117"/>
                  </a:lnTo>
                  <a:lnTo>
                    <a:pt x="59" y="119"/>
                  </a:lnTo>
                  <a:lnTo>
                    <a:pt x="58" y="117"/>
                  </a:lnTo>
                  <a:lnTo>
                    <a:pt x="52" y="119"/>
                  </a:lnTo>
                  <a:lnTo>
                    <a:pt x="46" y="116"/>
                  </a:lnTo>
                  <a:lnTo>
                    <a:pt x="30" y="109"/>
                  </a:lnTo>
                  <a:lnTo>
                    <a:pt x="23" y="104"/>
                  </a:lnTo>
                  <a:lnTo>
                    <a:pt x="20" y="104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9" name="Freeform 67">
              <a:extLst>
                <a:ext uri="{FF2B5EF4-FFF2-40B4-BE49-F238E27FC236}">
                  <a16:creationId xmlns:a16="http://schemas.microsoft.com/office/drawing/2014/main" id="{27CE6B8E-DB88-EA43-95D6-0DA6E3DED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0202" y="2754325"/>
              <a:ext cx="194669" cy="176614"/>
            </a:xfrm>
            <a:custGeom>
              <a:avLst/>
              <a:gdLst/>
              <a:ahLst/>
              <a:cxnLst>
                <a:cxn ang="0">
                  <a:pos x="78" y="160"/>
                </a:cxn>
                <a:cxn ang="0">
                  <a:pos x="47" y="160"/>
                </a:cxn>
                <a:cxn ang="0">
                  <a:pos x="23" y="154"/>
                </a:cxn>
                <a:cxn ang="0">
                  <a:pos x="15" y="154"/>
                </a:cxn>
                <a:cxn ang="0">
                  <a:pos x="6" y="157"/>
                </a:cxn>
                <a:cxn ang="0">
                  <a:pos x="0" y="150"/>
                </a:cxn>
                <a:cxn ang="0">
                  <a:pos x="1" y="140"/>
                </a:cxn>
                <a:cxn ang="0">
                  <a:pos x="6" y="130"/>
                </a:cxn>
                <a:cxn ang="0">
                  <a:pos x="13" y="104"/>
                </a:cxn>
                <a:cxn ang="0">
                  <a:pos x="17" y="97"/>
                </a:cxn>
                <a:cxn ang="0">
                  <a:pos x="27" y="89"/>
                </a:cxn>
                <a:cxn ang="0">
                  <a:pos x="29" y="72"/>
                </a:cxn>
                <a:cxn ang="0">
                  <a:pos x="29" y="65"/>
                </a:cxn>
                <a:cxn ang="0">
                  <a:pos x="20" y="46"/>
                </a:cxn>
                <a:cxn ang="0">
                  <a:pos x="22" y="34"/>
                </a:cxn>
                <a:cxn ang="0">
                  <a:pos x="10" y="5"/>
                </a:cxn>
                <a:cxn ang="0">
                  <a:pos x="34" y="0"/>
                </a:cxn>
                <a:cxn ang="0">
                  <a:pos x="54" y="0"/>
                </a:cxn>
                <a:cxn ang="0">
                  <a:pos x="69" y="4"/>
                </a:cxn>
                <a:cxn ang="0">
                  <a:pos x="81" y="29"/>
                </a:cxn>
                <a:cxn ang="0">
                  <a:pos x="97" y="29"/>
                </a:cxn>
                <a:cxn ang="0">
                  <a:pos x="109" y="16"/>
                </a:cxn>
                <a:cxn ang="0">
                  <a:pos x="126" y="19"/>
                </a:cxn>
                <a:cxn ang="0">
                  <a:pos x="139" y="22"/>
                </a:cxn>
                <a:cxn ang="0">
                  <a:pos x="141" y="50"/>
                </a:cxn>
                <a:cxn ang="0">
                  <a:pos x="143" y="73"/>
                </a:cxn>
                <a:cxn ang="0">
                  <a:pos x="150" y="72"/>
                </a:cxn>
                <a:cxn ang="0">
                  <a:pos x="168" y="70"/>
                </a:cxn>
                <a:cxn ang="0">
                  <a:pos x="170" y="96"/>
                </a:cxn>
                <a:cxn ang="0">
                  <a:pos x="163" y="99"/>
                </a:cxn>
                <a:cxn ang="0">
                  <a:pos x="145" y="99"/>
                </a:cxn>
                <a:cxn ang="0">
                  <a:pos x="145" y="120"/>
                </a:cxn>
                <a:cxn ang="0">
                  <a:pos x="145" y="150"/>
                </a:cxn>
                <a:cxn ang="0">
                  <a:pos x="136" y="171"/>
                </a:cxn>
                <a:cxn ang="0">
                  <a:pos x="102" y="167"/>
                </a:cxn>
                <a:cxn ang="0">
                  <a:pos x="93" y="160"/>
                </a:cxn>
              </a:cxnLst>
              <a:rect l="0" t="0" r="r" b="b"/>
              <a:pathLst>
                <a:path w="175" h="172">
                  <a:moveTo>
                    <a:pt x="93" y="160"/>
                  </a:moveTo>
                  <a:lnTo>
                    <a:pt x="78" y="160"/>
                  </a:lnTo>
                  <a:lnTo>
                    <a:pt x="61" y="160"/>
                  </a:lnTo>
                  <a:lnTo>
                    <a:pt x="47" y="160"/>
                  </a:lnTo>
                  <a:lnTo>
                    <a:pt x="32" y="160"/>
                  </a:lnTo>
                  <a:lnTo>
                    <a:pt x="23" y="154"/>
                  </a:lnTo>
                  <a:lnTo>
                    <a:pt x="22" y="154"/>
                  </a:lnTo>
                  <a:lnTo>
                    <a:pt x="15" y="154"/>
                  </a:lnTo>
                  <a:lnTo>
                    <a:pt x="8" y="159"/>
                  </a:lnTo>
                  <a:lnTo>
                    <a:pt x="6" y="157"/>
                  </a:lnTo>
                  <a:lnTo>
                    <a:pt x="1" y="160"/>
                  </a:lnTo>
                  <a:lnTo>
                    <a:pt x="0" y="150"/>
                  </a:lnTo>
                  <a:lnTo>
                    <a:pt x="1" y="154"/>
                  </a:lnTo>
                  <a:lnTo>
                    <a:pt x="1" y="140"/>
                  </a:lnTo>
                  <a:lnTo>
                    <a:pt x="3" y="138"/>
                  </a:lnTo>
                  <a:lnTo>
                    <a:pt x="6" y="130"/>
                  </a:lnTo>
                  <a:lnTo>
                    <a:pt x="10" y="109"/>
                  </a:lnTo>
                  <a:lnTo>
                    <a:pt x="13" y="104"/>
                  </a:lnTo>
                  <a:lnTo>
                    <a:pt x="17" y="101"/>
                  </a:lnTo>
                  <a:lnTo>
                    <a:pt x="17" y="97"/>
                  </a:lnTo>
                  <a:lnTo>
                    <a:pt x="22" y="94"/>
                  </a:lnTo>
                  <a:lnTo>
                    <a:pt x="27" y="89"/>
                  </a:lnTo>
                  <a:lnTo>
                    <a:pt x="29" y="82"/>
                  </a:lnTo>
                  <a:lnTo>
                    <a:pt x="29" y="72"/>
                  </a:lnTo>
                  <a:lnTo>
                    <a:pt x="30" y="70"/>
                  </a:lnTo>
                  <a:lnTo>
                    <a:pt x="29" y="65"/>
                  </a:lnTo>
                  <a:lnTo>
                    <a:pt x="23" y="58"/>
                  </a:lnTo>
                  <a:lnTo>
                    <a:pt x="20" y="46"/>
                  </a:lnTo>
                  <a:lnTo>
                    <a:pt x="23" y="41"/>
                  </a:lnTo>
                  <a:lnTo>
                    <a:pt x="22" y="34"/>
                  </a:lnTo>
                  <a:lnTo>
                    <a:pt x="17" y="17"/>
                  </a:lnTo>
                  <a:lnTo>
                    <a:pt x="10" y="5"/>
                  </a:lnTo>
                  <a:lnTo>
                    <a:pt x="23" y="0"/>
                  </a:lnTo>
                  <a:lnTo>
                    <a:pt x="34" y="0"/>
                  </a:lnTo>
                  <a:lnTo>
                    <a:pt x="44" y="0"/>
                  </a:lnTo>
                  <a:lnTo>
                    <a:pt x="54" y="0"/>
                  </a:lnTo>
                  <a:lnTo>
                    <a:pt x="64" y="0"/>
                  </a:lnTo>
                  <a:lnTo>
                    <a:pt x="69" y="4"/>
                  </a:lnTo>
                  <a:lnTo>
                    <a:pt x="73" y="21"/>
                  </a:lnTo>
                  <a:lnTo>
                    <a:pt x="81" y="29"/>
                  </a:lnTo>
                  <a:lnTo>
                    <a:pt x="85" y="31"/>
                  </a:lnTo>
                  <a:lnTo>
                    <a:pt x="97" y="29"/>
                  </a:lnTo>
                  <a:lnTo>
                    <a:pt x="105" y="29"/>
                  </a:lnTo>
                  <a:lnTo>
                    <a:pt x="109" y="16"/>
                  </a:lnTo>
                  <a:lnTo>
                    <a:pt x="126" y="14"/>
                  </a:lnTo>
                  <a:lnTo>
                    <a:pt x="126" y="19"/>
                  </a:lnTo>
                  <a:lnTo>
                    <a:pt x="138" y="21"/>
                  </a:lnTo>
                  <a:lnTo>
                    <a:pt x="139" y="22"/>
                  </a:lnTo>
                  <a:lnTo>
                    <a:pt x="141" y="43"/>
                  </a:lnTo>
                  <a:lnTo>
                    <a:pt x="141" y="50"/>
                  </a:lnTo>
                  <a:lnTo>
                    <a:pt x="145" y="65"/>
                  </a:lnTo>
                  <a:lnTo>
                    <a:pt x="143" y="73"/>
                  </a:lnTo>
                  <a:lnTo>
                    <a:pt x="148" y="75"/>
                  </a:lnTo>
                  <a:lnTo>
                    <a:pt x="150" y="72"/>
                  </a:lnTo>
                  <a:lnTo>
                    <a:pt x="158" y="70"/>
                  </a:lnTo>
                  <a:lnTo>
                    <a:pt x="168" y="70"/>
                  </a:lnTo>
                  <a:lnTo>
                    <a:pt x="172" y="70"/>
                  </a:lnTo>
                  <a:lnTo>
                    <a:pt x="170" y="96"/>
                  </a:lnTo>
                  <a:lnTo>
                    <a:pt x="174" y="99"/>
                  </a:lnTo>
                  <a:lnTo>
                    <a:pt x="163" y="99"/>
                  </a:lnTo>
                  <a:lnTo>
                    <a:pt x="153" y="99"/>
                  </a:lnTo>
                  <a:lnTo>
                    <a:pt x="145" y="99"/>
                  </a:lnTo>
                  <a:lnTo>
                    <a:pt x="145" y="109"/>
                  </a:lnTo>
                  <a:lnTo>
                    <a:pt x="145" y="120"/>
                  </a:lnTo>
                  <a:lnTo>
                    <a:pt x="145" y="133"/>
                  </a:lnTo>
                  <a:lnTo>
                    <a:pt x="145" y="150"/>
                  </a:lnTo>
                  <a:lnTo>
                    <a:pt x="160" y="164"/>
                  </a:lnTo>
                  <a:lnTo>
                    <a:pt x="136" y="171"/>
                  </a:lnTo>
                  <a:lnTo>
                    <a:pt x="116" y="167"/>
                  </a:lnTo>
                  <a:lnTo>
                    <a:pt x="102" y="167"/>
                  </a:lnTo>
                  <a:lnTo>
                    <a:pt x="98" y="166"/>
                  </a:lnTo>
                  <a:lnTo>
                    <a:pt x="93" y="16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0" name="Freeform 68">
              <a:extLst>
                <a:ext uri="{FF2B5EF4-FFF2-40B4-BE49-F238E27FC236}">
                  <a16:creationId xmlns:a16="http://schemas.microsoft.com/office/drawing/2014/main" id="{0F4E3B7A-E6A6-C546-97BC-618018071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8220" y="2895001"/>
              <a:ext cx="121251" cy="103709"/>
            </a:xfrm>
            <a:custGeom>
              <a:avLst/>
              <a:gdLst/>
              <a:ahLst/>
              <a:cxnLst>
                <a:cxn ang="0">
                  <a:pos x="24" y="32"/>
                </a:cxn>
                <a:cxn ang="0">
                  <a:pos x="27" y="30"/>
                </a:cxn>
                <a:cxn ang="0">
                  <a:pos x="34" y="23"/>
                </a:cxn>
                <a:cxn ang="0">
                  <a:pos x="39" y="20"/>
                </a:cxn>
                <a:cxn ang="0">
                  <a:pos x="39" y="18"/>
                </a:cxn>
                <a:cxn ang="0">
                  <a:pos x="45" y="15"/>
                </a:cxn>
                <a:cxn ang="0">
                  <a:pos x="50" y="17"/>
                </a:cxn>
                <a:cxn ang="0">
                  <a:pos x="51" y="13"/>
                </a:cxn>
                <a:cxn ang="0">
                  <a:pos x="48" y="13"/>
                </a:cxn>
                <a:cxn ang="0">
                  <a:pos x="48" y="10"/>
                </a:cxn>
                <a:cxn ang="0">
                  <a:pos x="50" y="5"/>
                </a:cxn>
                <a:cxn ang="0">
                  <a:pos x="62" y="0"/>
                </a:cxn>
                <a:cxn ang="0">
                  <a:pos x="67" y="0"/>
                </a:cxn>
                <a:cxn ang="0">
                  <a:pos x="70" y="0"/>
                </a:cxn>
                <a:cxn ang="0">
                  <a:pos x="70" y="5"/>
                </a:cxn>
                <a:cxn ang="0">
                  <a:pos x="85" y="5"/>
                </a:cxn>
                <a:cxn ang="0">
                  <a:pos x="103" y="11"/>
                </a:cxn>
                <a:cxn ang="0">
                  <a:pos x="106" y="13"/>
                </a:cxn>
                <a:cxn ang="0">
                  <a:pos x="108" y="25"/>
                </a:cxn>
                <a:cxn ang="0">
                  <a:pos x="108" y="37"/>
                </a:cxn>
                <a:cxn ang="0">
                  <a:pos x="104" y="47"/>
                </a:cxn>
                <a:cxn ang="0">
                  <a:pos x="106" y="63"/>
                </a:cxn>
                <a:cxn ang="0">
                  <a:pos x="96" y="88"/>
                </a:cxn>
                <a:cxn ang="0">
                  <a:pos x="89" y="93"/>
                </a:cxn>
                <a:cxn ang="0">
                  <a:pos x="87" y="100"/>
                </a:cxn>
                <a:cxn ang="0">
                  <a:pos x="82" y="97"/>
                </a:cxn>
                <a:cxn ang="0">
                  <a:pos x="77" y="95"/>
                </a:cxn>
                <a:cxn ang="0">
                  <a:pos x="68" y="95"/>
                </a:cxn>
                <a:cxn ang="0">
                  <a:pos x="60" y="92"/>
                </a:cxn>
                <a:cxn ang="0">
                  <a:pos x="56" y="93"/>
                </a:cxn>
                <a:cxn ang="0">
                  <a:pos x="48" y="88"/>
                </a:cxn>
                <a:cxn ang="0">
                  <a:pos x="43" y="88"/>
                </a:cxn>
                <a:cxn ang="0">
                  <a:pos x="38" y="85"/>
                </a:cxn>
                <a:cxn ang="0">
                  <a:pos x="34" y="71"/>
                </a:cxn>
                <a:cxn ang="0">
                  <a:pos x="24" y="63"/>
                </a:cxn>
                <a:cxn ang="0">
                  <a:pos x="19" y="61"/>
                </a:cxn>
                <a:cxn ang="0">
                  <a:pos x="12" y="52"/>
                </a:cxn>
                <a:cxn ang="0">
                  <a:pos x="7" y="42"/>
                </a:cxn>
                <a:cxn ang="0">
                  <a:pos x="0" y="34"/>
                </a:cxn>
                <a:cxn ang="0">
                  <a:pos x="0" y="30"/>
                </a:cxn>
                <a:cxn ang="0">
                  <a:pos x="10" y="32"/>
                </a:cxn>
                <a:cxn ang="0">
                  <a:pos x="17" y="32"/>
                </a:cxn>
                <a:cxn ang="0">
                  <a:pos x="21" y="34"/>
                </a:cxn>
                <a:cxn ang="0">
                  <a:pos x="22" y="34"/>
                </a:cxn>
                <a:cxn ang="0">
                  <a:pos x="24" y="32"/>
                </a:cxn>
              </a:cxnLst>
              <a:rect l="0" t="0" r="r" b="b"/>
              <a:pathLst>
                <a:path w="109" h="101">
                  <a:moveTo>
                    <a:pt x="24" y="32"/>
                  </a:moveTo>
                  <a:lnTo>
                    <a:pt x="27" y="30"/>
                  </a:lnTo>
                  <a:lnTo>
                    <a:pt x="34" y="23"/>
                  </a:lnTo>
                  <a:lnTo>
                    <a:pt x="39" y="20"/>
                  </a:lnTo>
                  <a:lnTo>
                    <a:pt x="39" y="18"/>
                  </a:lnTo>
                  <a:lnTo>
                    <a:pt x="45" y="15"/>
                  </a:lnTo>
                  <a:lnTo>
                    <a:pt x="50" y="17"/>
                  </a:lnTo>
                  <a:lnTo>
                    <a:pt x="51" y="13"/>
                  </a:lnTo>
                  <a:lnTo>
                    <a:pt x="48" y="13"/>
                  </a:lnTo>
                  <a:lnTo>
                    <a:pt x="48" y="10"/>
                  </a:lnTo>
                  <a:lnTo>
                    <a:pt x="50" y="5"/>
                  </a:lnTo>
                  <a:lnTo>
                    <a:pt x="62" y="0"/>
                  </a:lnTo>
                  <a:lnTo>
                    <a:pt x="67" y="0"/>
                  </a:lnTo>
                  <a:lnTo>
                    <a:pt x="70" y="0"/>
                  </a:lnTo>
                  <a:lnTo>
                    <a:pt x="70" y="5"/>
                  </a:lnTo>
                  <a:lnTo>
                    <a:pt x="85" y="5"/>
                  </a:lnTo>
                  <a:lnTo>
                    <a:pt x="103" y="11"/>
                  </a:lnTo>
                  <a:lnTo>
                    <a:pt x="106" y="13"/>
                  </a:lnTo>
                  <a:lnTo>
                    <a:pt x="108" y="25"/>
                  </a:lnTo>
                  <a:lnTo>
                    <a:pt x="108" y="37"/>
                  </a:lnTo>
                  <a:lnTo>
                    <a:pt x="104" y="47"/>
                  </a:lnTo>
                  <a:lnTo>
                    <a:pt x="106" y="63"/>
                  </a:lnTo>
                  <a:lnTo>
                    <a:pt x="96" y="88"/>
                  </a:lnTo>
                  <a:lnTo>
                    <a:pt x="89" y="93"/>
                  </a:lnTo>
                  <a:lnTo>
                    <a:pt x="87" y="100"/>
                  </a:lnTo>
                  <a:lnTo>
                    <a:pt x="82" y="97"/>
                  </a:lnTo>
                  <a:lnTo>
                    <a:pt x="77" y="95"/>
                  </a:lnTo>
                  <a:lnTo>
                    <a:pt x="68" y="95"/>
                  </a:lnTo>
                  <a:lnTo>
                    <a:pt x="60" y="92"/>
                  </a:lnTo>
                  <a:lnTo>
                    <a:pt x="56" y="93"/>
                  </a:lnTo>
                  <a:lnTo>
                    <a:pt x="48" y="88"/>
                  </a:lnTo>
                  <a:lnTo>
                    <a:pt x="43" y="88"/>
                  </a:lnTo>
                  <a:lnTo>
                    <a:pt x="38" y="85"/>
                  </a:lnTo>
                  <a:lnTo>
                    <a:pt x="34" y="71"/>
                  </a:lnTo>
                  <a:lnTo>
                    <a:pt x="24" y="63"/>
                  </a:lnTo>
                  <a:lnTo>
                    <a:pt x="19" y="61"/>
                  </a:lnTo>
                  <a:lnTo>
                    <a:pt x="12" y="52"/>
                  </a:lnTo>
                  <a:lnTo>
                    <a:pt x="7" y="42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10" y="32"/>
                  </a:lnTo>
                  <a:lnTo>
                    <a:pt x="17" y="32"/>
                  </a:lnTo>
                  <a:lnTo>
                    <a:pt x="21" y="34"/>
                  </a:lnTo>
                  <a:lnTo>
                    <a:pt x="22" y="34"/>
                  </a:lnTo>
                  <a:lnTo>
                    <a:pt x="24" y="32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1" name="Freeform 69">
              <a:extLst>
                <a:ext uri="{FF2B5EF4-FFF2-40B4-BE49-F238E27FC236}">
                  <a16:creationId xmlns:a16="http://schemas.microsoft.com/office/drawing/2014/main" id="{5C8783D2-8D6B-CB43-BB8A-D58D53528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7015" y="2925806"/>
              <a:ext cx="144611" cy="137595"/>
            </a:xfrm>
            <a:custGeom>
              <a:avLst/>
              <a:gdLst/>
              <a:ahLst/>
              <a:cxnLst>
                <a:cxn ang="0">
                  <a:pos x="129" y="63"/>
                </a:cxn>
                <a:cxn ang="0">
                  <a:pos x="121" y="58"/>
                </a:cxn>
                <a:cxn ang="0">
                  <a:pos x="116" y="58"/>
                </a:cxn>
                <a:cxn ang="0">
                  <a:pos x="111" y="55"/>
                </a:cxn>
                <a:cxn ang="0">
                  <a:pos x="107" y="41"/>
                </a:cxn>
                <a:cxn ang="0">
                  <a:pos x="97" y="33"/>
                </a:cxn>
                <a:cxn ang="0">
                  <a:pos x="92" y="31"/>
                </a:cxn>
                <a:cxn ang="0">
                  <a:pos x="85" y="22"/>
                </a:cxn>
                <a:cxn ang="0">
                  <a:pos x="80" y="12"/>
                </a:cxn>
                <a:cxn ang="0">
                  <a:pos x="73" y="4"/>
                </a:cxn>
                <a:cxn ang="0">
                  <a:pos x="73" y="0"/>
                </a:cxn>
                <a:cxn ang="0">
                  <a:pos x="68" y="0"/>
                </a:cxn>
                <a:cxn ang="0">
                  <a:pos x="65" y="2"/>
                </a:cxn>
                <a:cxn ang="0">
                  <a:pos x="58" y="4"/>
                </a:cxn>
                <a:cxn ang="0">
                  <a:pos x="51" y="12"/>
                </a:cxn>
                <a:cxn ang="0">
                  <a:pos x="48" y="5"/>
                </a:cxn>
                <a:cxn ang="0">
                  <a:pos x="41" y="4"/>
                </a:cxn>
                <a:cxn ang="0">
                  <a:pos x="13" y="10"/>
                </a:cxn>
                <a:cxn ang="0">
                  <a:pos x="13" y="24"/>
                </a:cxn>
                <a:cxn ang="0">
                  <a:pos x="13" y="34"/>
                </a:cxn>
                <a:cxn ang="0">
                  <a:pos x="13" y="46"/>
                </a:cxn>
                <a:cxn ang="0">
                  <a:pos x="13" y="62"/>
                </a:cxn>
                <a:cxn ang="0">
                  <a:pos x="2" y="60"/>
                </a:cxn>
                <a:cxn ang="0">
                  <a:pos x="0" y="62"/>
                </a:cxn>
                <a:cxn ang="0">
                  <a:pos x="0" y="82"/>
                </a:cxn>
                <a:cxn ang="0">
                  <a:pos x="0" y="103"/>
                </a:cxn>
                <a:cxn ang="0">
                  <a:pos x="12" y="116"/>
                </a:cxn>
                <a:cxn ang="0">
                  <a:pos x="13" y="121"/>
                </a:cxn>
                <a:cxn ang="0">
                  <a:pos x="10" y="130"/>
                </a:cxn>
                <a:cxn ang="0">
                  <a:pos x="12" y="132"/>
                </a:cxn>
                <a:cxn ang="0">
                  <a:pos x="22" y="133"/>
                </a:cxn>
                <a:cxn ang="0">
                  <a:pos x="31" y="132"/>
                </a:cxn>
                <a:cxn ang="0">
                  <a:pos x="48" y="113"/>
                </a:cxn>
                <a:cxn ang="0">
                  <a:pos x="54" y="113"/>
                </a:cxn>
                <a:cxn ang="0">
                  <a:pos x="66" y="116"/>
                </a:cxn>
                <a:cxn ang="0">
                  <a:pos x="77" y="114"/>
                </a:cxn>
                <a:cxn ang="0">
                  <a:pos x="82" y="104"/>
                </a:cxn>
                <a:cxn ang="0">
                  <a:pos x="94" y="94"/>
                </a:cxn>
                <a:cxn ang="0">
                  <a:pos x="97" y="89"/>
                </a:cxn>
                <a:cxn ang="0">
                  <a:pos x="106" y="79"/>
                </a:cxn>
                <a:cxn ang="0">
                  <a:pos x="114" y="72"/>
                </a:cxn>
                <a:cxn ang="0">
                  <a:pos x="129" y="63"/>
                </a:cxn>
              </a:cxnLst>
              <a:rect l="0" t="0" r="r" b="b"/>
              <a:pathLst>
                <a:path w="130" h="134">
                  <a:moveTo>
                    <a:pt x="129" y="63"/>
                  </a:moveTo>
                  <a:lnTo>
                    <a:pt x="121" y="58"/>
                  </a:lnTo>
                  <a:lnTo>
                    <a:pt x="116" y="58"/>
                  </a:lnTo>
                  <a:lnTo>
                    <a:pt x="111" y="55"/>
                  </a:lnTo>
                  <a:lnTo>
                    <a:pt x="107" y="41"/>
                  </a:lnTo>
                  <a:lnTo>
                    <a:pt x="97" y="33"/>
                  </a:lnTo>
                  <a:lnTo>
                    <a:pt x="92" y="31"/>
                  </a:lnTo>
                  <a:lnTo>
                    <a:pt x="85" y="22"/>
                  </a:lnTo>
                  <a:lnTo>
                    <a:pt x="80" y="12"/>
                  </a:lnTo>
                  <a:lnTo>
                    <a:pt x="73" y="4"/>
                  </a:lnTo>
                  <a:lnTo>
                    <a:pt x="73" y="0"/>
                  </a:lnTo>
                  <a:lnTo>
                    <a:pt x="68" y="0"/>
                  </a:lnTo>
                  <a:lnTo>
                    <a:pt x="65" y="2"/>
                  </a:lnTo>
                  <a:lnTo>
                    <a:pt x="58" y="4"/>
                  </a:lnTo>
                  <a:lnTo>
                    <a:pt x="51" y="12"/>
                  </a:lnTo>
                  <a:lnTo>
                    <a:pt x="48" y="5"/>
                  </a:lnTo>
                  <a:lnTo>
                    <a:pt x="41" y="4"/>
                  </a:lnTo>
                  <a:lnTo>
                    <a:pt x="13" y="10"/>
                  </a:lnTo>
                  <a:lnTo>
                    <a:pt x="13" y="24"/>
                  </a:lnTo>
                  <a:lnTo>
                    <a:pt x="13" y="34"/>
                  </a:lnTo>
                  <a:lnTo>
                    <a:pt x="13" y="46"/>
                  </a:lnTo>
                  <a:lnTo>
                    <a:pt x="13" y="62"/>
                  </a:lnTo>
                  <a:lnTo>
                    <a:pt x="2" y="60"/>
                  </a:lnTo>
                  <a:lnTo>
                    <a:pt x="0" y="62"/>
                  </a:lnTo>
                  <a:lnTo>
                    <a:pt x="0" y="82"/>
                  </a:lnTo>
                  <a:lnTo>
                    <a:pt x="0" y="103"/>
                  </a:lnTo>
                  <a:lnTo>
                    <a:pt x="12" y="116"/>
                  </a:lnTo>
                  <a:lnTo>
                    <a:pt x="13" y="121"/>
                  </a:lnTo>
                  <a:lnTo>
                    <a:pt x="10" y="130"/>
                  </a:lnTo>
                  <a:lnTo>
                    <a:pt x="12" y="132"/>
                  </a:lnTo>
                  <a:lnTo>
                    <a:pt x="22" y="133"/>
                  </a:lnTo>
                  <a:lnTo>
                    <a:pt x="31" y="132"/>
                  </a:lnTo>
                  <a:lnTo>
                    <a:pt x="48" y="113"/>
                  </a:lnTo>
                  <a:lnTo>
                    <a:pt x="54" y="113"/>
                  </a:lnTo>
                  <a:lnTo>
                    <a:pt x="66" y="116"/>
                  </a:lnTo>
                  <a:lnTo>
                    <a:pt x="77" y="114"/>
                  </a:lnTo>
                  <a:lnTo>
                    <a:pt x="82" y="104"/>
                  </a:lnTo>
                  <a:lnTo>
                    <a:pt x="94" y="94"/>
                  </a:lnTo>
                  <a:lnTo>
                    <a:pt x="97" y="89"/>
                  </a:lnTo>
                  <a:lnTo>
                    <a:pt x="106" y="79"/>
                  </a:lnTo>
                  <a:lnTo>
                    <a:pt x="114" y="72"/>
                  </a:lnTo>
                  <a:lnTo>
                    <a:pt x="129" y="63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2" name="Freeform 70">
              <a:extLst>
                <a:ext uri="{FF2B5EF4-FFF2-40B4-BE49-F238E27FC236}">
                  <a16:creationId xmlns:a16="http://schemas.microsoft.com/office/drawing/2014/main" id="{7E9C922C-4936-414A-9D40-A1DCF35F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1314" y="2912457"/>
              <a:ext cx="208018" cy="185856"/>
            </a:xfrm>
            <a:custGeom>
              <a:avLst/>
              <a:gdLst/>
              <a:ahLst/>
              <a:cxnLst>
                <a:cxn ang="0">
                  <a:pos x="92" y="6"/>
                </a:cxn>
                <a:cxn ang="0">
                  <a:pos x="77" y="6"/>
                </a:cxn>
                <a:cxn ang="0">
                  <a:pos x="60" y="6"/>
                </a:cxn>
                <a:cxn ang="0">
                  <a:pos x="46" y="6"/>
                </a:cxn>
                <a:cxn ang="0">
                  <a:pos x="31" y="6"/>
                </a:cxn>
                <a:cxn ang="0">
                  <a:pos x="22" y="0"/>
                </a:cxn>
                <a:cxn ang="0">
                  <a:pos x="21" y="0"/>
                </a:cxn>
                <a:cxn ang="0">
                  <a:pos x="14" y="0"/>
                </a:cxn>
                <a:cxn ang="0">
                  <a:pos x="7" y="5"/>
                </a:cxn>
                <a:cxn ang="0">
                  <a:pos x="5" y="3"/>
                </a:cxn>
                <a:cxn ang="0">
                  <a:pos x="0" y="6"/>
                </a:cxn>
                <a:cxn ang="0">
                  <a:pos x="0" y="18"/>
                </a:cxn>
                <a:cxn ang="0">
                  <a:pos x="14" y="37"/>
                </a:cxn>
                <a:cxn ang="0">
                  <a:pos x="24" y="59"/>
                </a:cxn>
                <a:cxn ang="0">
                  <a:pos x="38" y="83"/>
                </a:cxn>
                <a:cxn ang="0">
                  <a:pos x="38" y="107"/>
                </a:cxn>
                <a:cxn ang="0">
                  <a:pos x="43" y="119"/>
                </a:cxn>
                <a:cxn ang="0">
                  <a:pos x="43" y="131"/>
                </a:cxn>
                <a:cxn ang="0">
                  <a:pos x="48" y="156"/>
                </a:cxn>
                <a:cxn ang="0">
                  <a:pos x="55" y="167"/>
                </a:cxn>
                <a:cxn ang="0">
                  <a:pos x="65" y="175"/>
                </a:cxn>
                <a:cxn ang="0">
                  <a:pos x="68" y="175"/>
                </a:cxn>
                <a:cxn ang="0">
                  <a:pos x="72" y="170"/>
                </a:cxn>
                <a:cxn ang="0">
                  <a:pos x="74" y="170"/>
                </a:cxn>
                <a:cxn ang="0">
                  <a:pos x="80" y="175"/>
                </a:cxn>
                <a:cxn ang="0">
                  <a:pos x="80" y="177"/>
                </a:cxn>
                <a:cxn ang="0">
                  <a:pos x="84" y="180"/>
                </a:cxn>
                <a:cxn ang="0">
                  <a:pos x="101" y="180"/>
                </a:cxn>
                <a:cxn ang="0">
                  <a:pos x="113" y="174"/>
                </a:cxn>
                <a:cxn ang="0">
                  <a:pos x="113" y="148"/>
                </a:cxn>
                <a:cxn ang="0">
                  <a:pos x="113" y="131"/>
                </a:cxn>
                <a:cxn ang="0">
                  <a:pos x="113" y="116"/>
                </a:cxn>
                <a:cxn ang="0">
                  <a:pos x="113" y="95"/>
                </a:cxn>
                <a:cxn ang="0">
                  <a:pos x="113" y="75"/>
                </a:cxn>
                <a:cxn ang="0">
                  <a:pos x="115" y="73"/>
                </a:cxn>
                <a:cxn ang="0">
                  <a:pos x="126" y="75"/>
                </a:cxn>
                <a:cxn ang="0">
                  <a:pos x="126" y="59"/>
                </a:cxn>
                <a:cxn ang="0">
                  <a:pos x="126" y="46"/>
                </a:cxn>
                <a:cxn ang="0">
                  <a:pos x="126" y="37"/>
                </a:cxn>
                <a:cxn ang="0">
                  <a:pos x="126" y="23"/>
                </a:cxn>
                <a:cxn ang="0">
                  <a:pos x="154" y="17"/>
                </a:cxn>
                <a:cxn ang="0">
                  <a:pos x="161" y="18"/>
                </a:cxn>
                <a:cxn ang="0">
                  <a:pos x="164" y="25"/>
                </a:cxn>
                <a:cxn ang="0">
                  <a:pos x="171" y="17"/>
                </a:cxn>
                <a:cxn ang="0">
                  <a:pos x="178" y="15"/>
                </a:cxn>
                <a:cxn ang="0">
                  <a:pos x="181" y="13"/>
                </a:cxn>
                <a:cxn ang="0">
                  <a:pos x="186" y="13"/>
                </a:cxn>
                <a:cxn ang="0">
                  <a:pos x="181" y="8"/>
                </a:cxn>
                <a:cxn ang="0">
                  <a:pos x="173" y="8"/>
                </a:cxn>
                <a:cxn ang="0">
                  <a:pos x="159" y="10"/>
                </a:cxn>
                <a:cxn ang="0">
                  <a:pos x="135" y="17"/>
                </a:cxn>
                <a:cxn ang="0">
                  <a:pos x="115" y="13"/>
                </a:cxn>
                <a:cxn ang="0">
                  <a:pos x="101" y="13"/>
                </a:cxn>
                <a:cxn ang="0">
                  <a:pos x="97" y="12"/>
                </a:cxn>
                <a:cxn ang="0">
                  <a:pos x="92" y="6"/>
                </a:cxn>
              </a:cxnLst>
              <a:rect l="0" t="0" r="r" b="b"/>
              <a:pathLst>
                <a:path w="187" h="181">
                  <a:moveTo>
                    <a:pt x="92" y="6"/>
                  </a:moveTo>
                  <a:lnTo>
                    <a:pt x="77" y="6"/>
                  </a:lnTo>
                  <a:lnTo>
                    <a:pt x="60" y="6"/>
                  </a:lnTo>
                  <a:lnTo>
                    <a:pt x="46" y="6"/>
                  </a:lnTo>
                  <a:lnTo>
                    <a:pt x="31" y="6"/>
                  </a:lnTo>
                  <a:lnTo>
                    <a:pt x="22" y="0"/>
                  </a:lnTo>
                  <a:lnTo>
                    <a:pt x="21" y="0"/>
                  </a:lnTo>
                  <a:lnTo>
                    <a:pt x="14" y="0"/>
                  </a:lnTo>
                  <a:lnTo>
                    <a:pt x="7" y="5"/>
                  </a:lnTo>
                  <a:lnTo>
                    <a:pt x="5" y="3"/>
                  </a:lnTo>
                  <a:lnTo>
                    <a:pt x="0" y="6"/>
                  </a:lnTo>
                  <a:lnTo>
                    <a:pt x="0" y="18"/>
                  </a:lnTo>
                  <a:lnTo>
                    <a:pt x="14" y="37"/>
                  </a:lnTo>
                  <a:lnTo>
                    <a:pt x="24" y="59"/>
                  </a:lnTo>
                  <a:lnTo>
                    <a:pt x="38" y="83"/>
                  </a:lnTo>
                  <a:lnTo>
                    <a:pt x="38" y="107"/>
                  </a:lnTo>
                  <a:lnTo>
                    <a:pt x="43" y="119"/>
                  </a:lnTo>
                  <a:lnTo>
                    <a:pt x="43" y="131"/>
                  </a:lnTo>
                  <a:lnTo>
                    <a:pt x="48" y="156"/>
                  </a:lnTo>
                  <a:lnTo>
                    <a:pt x="55" y="167"/>
                  </a:lnTo>
                  <a:lnTo>
                    <a:pt x="65" y="175"/>
                  </a:lnTo>
                  <a:lnTo>
                    <a:pt x="68" y="175"/>
                  </a:lnTo>
                  <a:lnTo>
                    <a:pt x="72" y="170"/>
                  </a:lnTo>
                  <a:lnTo>
                    <a:pt x="74" y="170"/>
                  </a:lnTo>
                  <a:lnTo>
                    <a:pt x="80" y="175"/>
                  </a:lnTo>
                  <a:lnTo>
                    <a:pt x="80" y="177"/>
                  </a:lnTo>
                  <a:lnTo>
                    <a:pt x="84" y="180"/>
                  </a:lnTo>
                  <a:lnTo>
                    <a:pt x="101" y="180"/>
                  </a:lnTo>
                  <a:lnTo>
                    <a:pt x="113" y="174"/>
                  </a:lnTo>
                  <a:lnTo>
                    <a:pt x="113" y="148"/>
                  </a:lnTo>
                  <a:lnTo>
                    <a:pt x="113" y="131"/>
                  </a:lnTo>
                  <a:lnTo>
                    <a:pt x="113" y="116"/>
                  </a:lnTo>
                  <a:lnTo>
                    <a:pt x="113" y="95"/>
                  </a:lnTo>
                  <a:lnTo>
                    <a:pt x="113" y="75"/>
                  </a:lnTo>
                  <a:lnTo>
                    <a:pt x="115" y="73"/>
                  </a:lnTo>
                  <a:lnTo>
                    <a:pt x="126" y="75"/>
                  </a:lnTo>
                  <a:lnTo>
                    <a:pt x="126" y="59"/>
                  </a:lnTo>
                  <a:lnTo>
                    <a:pt x="126" y="46"/>
                  </a:lnTo>
                  <a:lnTo>
                    <a:pt x="126" y="37"/>
                  </a:lnTo>
                  <a:lnTo>
                    <a:pt x="126" y="23"/>
                  </a:lnTo>
                  <a:lnTo>
                    <a:pt x="154" y="17"/>
                  </a:lnTo>
                  <a:lnTo>
                    <a:pt x="161" y="18"/>
                  </a:lnTo>
                  <a:lnTo>
                    <a:pt x="164" y="25"/>
                  </a:lnTo>
                  <a:lnTo>
                    <a:pt x="171" y="17"/>
                  </a:lnTo>
                  <a:lnTo>
                    <a:pt x="178" y="15"/>
                  </a:lnTo>
                  <a:lnTo>
                    <a:pt x="181" y="13"/>
                  </a:lnTo>
                  <a:lnTo>
                    <a:pt x="186" y="13"/>
                  </a:lnTo>
                  <a:lnTo>
                    <a:pt x="181" y="8"/>
                  </a:lnTo>
                  <a:lnTo>
                    <a:pt x="173" y="8"/>
                  </a:lnTo>
                  <a:lnTo>
                    <a:pt x="159" y="10"/>
                  </a:lnTo>
                  <a:lnTo>
                    <a:pt x="135" y="17"/>
                  </a:lnTo>
                  <a:lnTo>
                    <a:pt x="115" y="13"/>
                  </a:lnTo>
                  <a:lnTo>
                    <a:pt x="101" y="13"/>
                  </a:lnTo>
                  <a:lnTo>
                    <a:pt x="97" y="12"/>
                  </a:lnTo>
                  <a:lnTo>
                    <a:pt x="92" y="6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3" name="Freeform 71">
              <a:extLst>
                <a:ext uri="{FF2B5EF4-FFF2-40B4-BE49-F238E27FC236}">
                  <a16:creationId xmlns:a16="http://schemas.microsoft.com/office/drawing/2014/main" id="{1A8E6179-1D33-6847-BBFA-036990FA4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3331" y="2332299"/>
              <a:ext cx="245839" cy="174561"/>
            </a:xfrm>
            <a:custGeom>
              <a:avLst/>
              <a:gdLst/>
              <a:ahLst/>
              <a:cxnLst>
                <a:cxn ang="0">
                  <a:pos x="56" y="75"/>
                </a:cxn>
                <a:cxn ang="0">
                  <a:pos x="56" y="97"/>
                </a:cxn>
                <a:cxn ang="0">
                  <a:pos x="53" y="109"/>
                </a:cxn>
                <a:cxn ang="0">
                  <a:pos x="32" y="118"/>
                </a:cxn>
                <a:cxn ang="0">
                  <a:pos x="12" y="123"/>
                </a:cxn>
                <a:cxn ang="0">
                  <a:pos x="0" y="130"/>
                </a:cxn>
                <a:cxn ang="0">
                  <a:pos x="3" y="138"/>
                </a:cxn>
                <a:cxn ang="0">
                  <a:pos x="19" y="155"/>
                </a:cxn>
                <a:cxn ang="0">
                  <a:pos x="25" y="155"/>
                </a:cxn>
                <a:cxn ang="0">
                  <a:pos x="31" y="159"/>
                </a:cxn>
                <a:cxn ang="0">
                  <a:pos x="29" y="162"/>
                </a:cxn>
                <a:cxn ang="0">
                  <a:pos x="34" y="166"/>
                </a:cxn>
                <a:cxn ang="0">
                  <a:pos x="39" y="161"/>
                </a:cxn>
                <a:cxn ang="0">
                  <a:pos x="49" y="159"/>
                </a:cxn>
                <a:cxn ang="0">
                  <a:pos x="56" y="145"/>
                </a:cxn>
                <a:cxn ang="0">
                  <a:pos x="77" y="140"/>
                </a:cxn>
                <a:cxn ang="0">
                  <a:pos x="95" y="152"/>
                </a:cxn>
                <a:cxn ang="0">
                  <a:pos x="102" y="147"/>
                </a:cxn>
                <a:cxn ang="0">
                  <a:pos x="119" y="154"/>
                </a:cxn>
                <a:cxn ang="0">
                  <a:pos x="131" y="154"/>
                </a:cxn>
                <a:cxn ang="0">
                  <a:pos x="160" y="145"/>
                </a:cxn>
                <a:cxn ang="0">
                  <a:pos x="176" y="143"/>
                </a:cxn>
                <a:cxn ang="0">
                  <a:pos x="181" y="140"/>
                </a:cxn>
                <a:cxn ang="0">
                  <a:pos x="184" y="133"/>
                </a:cxn>
                <a:cxn ang="0">
                  <a:pos x="186" y="128"/>
                </a:cxn>
                <a:cxn ang="0">
                  <a:pos x="211" y="96"/>
                </a:cxn>
                <a:cxn ang="0">
                  <a:pos x="217" y="51"/>
                </a:cxn>
                <a:cxn ang="0">
                  <a:pos x="211" y="39"/>
                </a:cxn>
                <a:cxn ang="0">
                  <a:pos x="206" y="7"/>
                </a:cxn>
                <a:cxn ang="0">
                  <a:pos x="199" y="5"/>
                </a:cxn>
                <a:cxn ang="0">
                  <a:pos x="160" y="0"/>
                </a:cxn>
                <a:cxn ang="0">
                  <a:pos x="148" y="9"/>
                </a:cxn>
                <a:cxn ang="0">
                  <a:pos x="135" y="17"/>
                </a:cxn>
                <a:cxn ang="0">
                  <a:pos x="121" y="26"/>
                </a:cxn>
                <a:cxn ang="0">
                  <a:pos x="109" y="34"/>
                </a:cxn>
                <a:cxn ang="0">
                  <a:pos x="92" y="46"/>
                </a:cxn>
                <a:cxn ang="0">
                  <a:pos x="77" y="58"/>
                </a:cxn>
                <a:cxn ang="0">
                  <a:pos x="56" y="63"/>
                </a:cxn>
              </a:cxnLst>
              <a:rect l="0" t="0" r="r" b="b"/>
              <a:pathLst>
                <a:path w="221" h="170">
                  <a:moveTo>
                    <a:pt x="56" y="63"/>
                  </a:moveTo>
                  <a:lnTo>
                    <a:pt x="56" y="75"/>
                  </a:lnTo>
                  <a:lnTo>
                    <a:pt x="56" y="85"/>
                  </a:lnTo>
                  <a:lnTo>
                    <a:pt x="56" y="97"/>
                  </a:lnTo>
                  <a:lnTo>
                    <a:pt x="56" y="109"/>
                  </a:lnTo>
                  <a:lnTo>
                    <a:pt x="53" y="109"/>
                  </a:lnTo>
                  <a:lnTo>
                    <a:pt x="48" y="118"/>
                  </a:lnTo>
                  <a:lnTo>
                    <a:pt x="32" y="118"/>
                  </a:lnTo>
                  <a:lnTo>
                    <a:pt x="17" y="118"/>
                  </a:lnTo>
                  <a:lnTo>
                    <a:pt x="12" y="123"/>
                  </a:lnTo>
                  <a:lnTo>
                    <a:pt x="2" y="123"/>
                  </a:lnTo>
                  <a:lnTo>
                    <a:pt x="0" y="130"/>
                  </a:lnTo>
                  <a:lnTo>
                    <a:pt x="3" y="133"/>
                  </a:lnTo>
                  <a:lnTo>
                    <a:pt x="3" y="138"/>
                  </a:lnTo>
                  <a:lnTo>
                    <a:pt x="12" y="145"/>
                  </a:lnTo>
                  <a:lnTo>
                    <a:pt x="19" y="155"/>
                  </a:lnTo>
                  <a:lnTo>
                    <a:pt x="22" y="157"/>
                  </a:lnTo>
                  <a:lnTo>
                    <a:pt x="25" y="155"/>
                  </a:lnTo>
                  <a:lnTo>
                    <a:pt x="29" y="155"/>
                  </a:lnTo>
                  <a:lnTo>
                    <a:pt x="31" y="159"/>
                  </a:lnTo>
                  <a:lnTo>
                    <a:pt x="29" y="161"/>
                  </a:lnTo>
                  <a:lnTo>
                    <a:pt x="29" y="162"/>
                  </a:lnTo>
                  <a:lnTo>
                    <a:pt x="32" y="166"/>
                  </a:lnTo>
                  <a:lnTo>
                    <a:pt x="34" y="166"/>
                  </a:lnTo>
                  <a:lnTo>
                    <a:pt x="32" y="162"/>
                  </a:lnTo>
                  <a:lnTo>
                    <a:pt x="39" y="161"/>
                  </a:lnTo>
                  <a:lnTo>
                    <a:pt x="49" y="169"/>
                  </a:lnTo>
                  <a:lnTo>
                    <a:pt x="49" y="159"/>
                  </a:lnTo>
                  <a:lnTo>
                    <a:pt x="53" y="154"/>
                  </a:lnTo>
                  <a:lnTo>
                    <a:pt x="56" y="145"/>
                  </a:lnTo>
                  <a:lnTo>
                    <a:pt x="65" y="142"/>
                  </a:lnTo>
                  <a:lnTo>
                    <a:pt x="77" y="140"/>
                  </a:lnTo>
                  <a:lnTo>
                    <a:pt x="87" y="145"/>
                  </a:lnTo>
                  <a:lnTo>
                    <a:pt x="95" y="152"/>
                  </a:lnTo>
                  <a:lnTo>
                    <a:pt x="97" y="152"/>
                  </a:lnTo>
                  <a:lnTo>
                    <a:pt x="102" y="147"/>
                  </a:lnTo>
                  <a:lnTo>
                    <a:pt x="109" y="147"/>
                  </a:lnTo>
                  <a:lnTo>
                    <a:pt x="119" y="154"/>
                  </a:lnTo>
                  <a:lnTo>
                    <a:pt x="128" y="155"/>
                  </a:lnTo>
                  <a:lnTo>
                    <a:pt x="131" y="154"/>
                  </a:lnTo>
                  <a:lnTo>
                    <a:pt x="141" y="147"/>
                  </a:lnTo>
                  <a:lnTo>
                    <a:pt x="160" y="145"/>
                  </a:lnTo>
                  <a:lnTo>
                    <a:pt x="169" y="149"/>
                  </a:lnTo>
                  <a:lnTo>
                    <a:pt x="176" y="143"/>
                  </a:lnTo>
                  <a:lnTo>
                    <a:pt x="179" y="143"/>
                  </a:lnTo>
                  <a:lnTo>
                    <a:pt x="181" y="140"/>
                  </a:lnTo>
                  <a:lnTo>
                    <a:pt x="186" y="140"/>
                  </a:lnTo>
                  <a:lnTo>
                    <a:pt x="184" y="133"/>
                  </a:lnTo>
                  <a:lnTo>
                    <a:pt x="184" y="130"/>
                  </a:lnTo>
                  <a:lnTo>
                    <a:pt x="186" y="128"/>
                  </a:lnTo>
                  <a:lnTo>
                    <a:pt x="188" y="121"/>
                  </a:lnTo>
                  <a:lnTo>
                    <a:pt x="211" y="96"/>
                  </a:lnTo>
                  <a:lnTo>
                    <a:pt x="213" y="72"/>
                  </a:lnTo>
                  <a:lnTo>
                    <a:pt x="217" y="51"/>
                  </a:lnTo>
                  <a:lnTo>
                    <a:pt x="220" y="46"/>
                  </a:lnTo>
                  <a:lnTo>
                    <a:pt x="211" y="39"/>
                  </a:lnTo>
                  <a:lnTo>
                    <a:pt x="206" y="31"/>
                  </a:lnTo>
                  <a:lnTo>
                    <a:pt x="206" y="7"/>
                  </a:lnTo>
                  <a:lnTo>
                    <a:pt x="201" y="9"/>
                  </a:lnTo>
                  <a:lnTo>
                    <a:pt x="199" y="5"/>
                  </a:lnTo>
                  <a:lnTo>
                    <a:pt x="191" y="0"/>
                  </a:lnTo>
                  <a:lnTo>
                    <a:pt x="160" y="0"/>
                  </a:lnTo>
                  <a:lnTo>
                    <a:pt x="153" y="5"/>
                  </a:lnTo>
                  <a:lnTo>
                    <a:pt x="148" y="9"/>
                  </a:lnTo>
                  <a:lnTo>
                    <a:pt x="141" y="14"/>
                  </a:lnTo>
                  <a:lnTo>
                    <a:pt x="135" y="17"/>
                  </a:lnTo>
                  <a:lnTo>
                    <a:pt x="128" y="22"/>
                  </a:lnTo>
                  <a:lnTo>
                    <a:pt x="121" y="26"/>
                  </a:lnTo>
                  <a:lnTo>
                    <a:pt x="114" y="31"/>
                  </a:lnTo>
                  <a:lnTo>
                    <a:pt x="109" y="34"/>
                  </a:lnTo>
                  <a:lnTo>
                    <a:pt x="100" y="41"/>
                  </a:lnTo>
                  <a:lnTo>
                    <a:pt x="92" y="46"/>
                  </a:lnTo>
                  <a:lnTo>
                    <a:pt x="85" y="53"/>
                  </a:lnTo>
                  <a:lnTo>
                    <a:pt x="77" y="58"/>
                  </a:lnTo>
                  <a:lnTo>
                    <a:pt x="66" y="62"/>
                  </a:lnTo>
                  <a:lnTo>
                    <a:pt x="56" y="63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4" name="Freeform 132">
              <a:extLst>
                <a:ext uri="{FF2B5EF4-FFF2-40B4-BE49-F238E27FC236}">
                  <a16:creationId xmlns:a16="http://schemas.microsoft.com/office/drawing/2014/main" id="{2C9C6CC0-C0E1-1845-B7A4-1A46247B4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4570" y="2106397"/>
              <a:ext cx="62294" cy="120139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12" y="14"/>
                </a:cxn>
                <a:cxn ang="0">
                  <a:pos x="16" y="16"/>
                </a:cxn>
                <a:cxn ang="0">
                  <a:pos x="14" y="26"/>
                </a:cxn>
                <a:cxn ang="0">
                  <a:pos x="16" y="36"/>
                </a:cxn>
                <a:cxn ang="0">
                  <a:pos x="12" y="46"/>
                </a:cxn>
                <a:cxn ang="0">
                  <a:pos x="0" y="57"/>
                </a:cxn>
                <a:cxn ang="0">
                  <a:pos x="4" y="68"/>
                </a:cxn>
                <a:cxn ang="0">
                  <a:pos x="11" y="70"/>
                </a:cxn>
                <a:cxn ang="0">
                  <a:pos x="12" y="77"/>
                </a:cxn>
                <a:cxn ang="0">
                  <a:pos x="12" y="80"/>
                </a:cxn>
                <a:cxn ang="0">
                  <a:pos x="24" y="87"/>
                </a:cxn>
                <a:cxn ang="0">
                  <a:pos x="28" y="116"/>
                </a:cxn>
                <a:cxn ang="0">
                  <a:pos x="35" y="113"/>
                </a:cxn>
                <a:cxn ang="0">
                  <a:pos x="38" y="108"/>
                </a:cxn>
                <a:cxn ang="0">
                  <a:pos x="36" y="99"/>
                </a:cxn>
                <a:cxn ang="0">
                  <a:pos x="38" y="94"/>
                </a:cxn>
                <a:cxn ang="0">
                  <a:pos x="55" y="82"/>
                </a:cxn>
                <a:cxn ang="0">
                  <a:pos x="55" y="80"/>
                </a:cxn>
                <a:cxn ang="0">
                  <a:pos x="55" y="70"/>
                </a:cxn>
                <a:cxn ang="0">
                  <a:pos x="52" y="68"/>
                </a:cxn>
                <a:cxn ang="0">
                  <a:pos x="48" y="63"/>
                </a:cxn>
                <a:cxn ang="0">
                  <a:pos x="45" y="63"/>
                </a:cxn>
                <a:cxn ang="0">
                  <a:pos x="43" y="62"/>
                </a:cxn>
                <a:cxn ang="0">
                  <a:pos x="40" y="62"/>
                </a:cxn>
                <a:cxn ang="0">
                  <a:pos x="36" y="60"/>
                </a:cxn>
                <a:cxn ang="0">
                  <a:pos x="35" y="57"/>
                </a:cxn>
                <a:cxn ang="0">
                  <a:pos x="35" y="53"/>
                </a:cxn>
                <a:cxn ang="0">
                  <a:pos x="38" y="55"/>
                </a:cxn>
                <a:cxn ang="0">
                  <a:pos x="40" y="51"/>
                </a:cxn>
                <a:cxn ang="0">
                  <a:pos x="48" y="43"/>
                </a:cxn>
                <a:cxn ang="0">
                  <a:pos x="53" y="34"/>
                </a:cxn>
                <a:cxn ang="0">
                  <a:pos x="52" y="29"/>
                </a:cxn>
                <a:cxn ang="0">
                  <a:pos x="47" y="26"/>
                </a:cxn>
                <a:cxn ang="0">
                  <a:pos x="45" y="19"/>
                </a:cxn>
                <a:cxn ang="0">
                  <a:pos x="45" y="16"/>
                </a:cxn>
                <a:cxn ang="0">
                  <a:pos x="50" y="14"/>
                </a:cxn>
                <a:cxn ang="0">
                  <a:pos x="52" y="7"/>
                </a:cxn>
                <a:cxn ang="0">
                  <a:pos x="52" y="4"/>
                </a:cxn>
                <a:cxn ang="0">
                  <a:pos x="43" y="9"/>
                </a:cxn>
                <a:cxn ang="0">
                  <a:pos x="41" y="9"/>
                </a:cxn>
                <a:cxn ang="0">
                  <a:pos x="40" y="4"/>
                </a:cxn>
                <a:cxn ang="0">
                  <a:pos x="40" y="2"/>
                </a:cxn>
                <a:cxn ang="0">
                  <a:pos x="33" y="0"/>
                </a:cxn>
                <a:cxn ang="0">
                  <a:pos x="26" y="2"/>
                </a:cxn>
                <a:cxn ang="0">
                  <a:pos x="19" y="5"/>
                </a:cxn>
              </a:cxnLst>
              <a:rect l="0" t="0" r="r" b="b"/>
              <a:pathLst>
                <a:path w="56" h="117">
                  <a:moveTo>
                    <a:pt x="19" y="5"/>
                  </a:moveTo>
                  <a:lnTo>
                    <a:pt x="12" y="14"/>
                  </a:lnTo>
                  <a:lnTo>
                    <a:pt x="16" y="16"/>
                  </a:lnTo>
                  <a:lnTo>
                    <a:pt x="14" y="26"/>
                  </a:lnTo>
                  <a:lnTo>
                    <a:pt x="16" y="36"/>
                  </a:lnTo>
                  <a:lnTo>
                    <a:pt x="12" y="46"/>
                  </a:lnTo>
                  <a:lnTo>
                    <a:pt x="0" y="57"/>
                  </a:lnTo>
                  <a:lnTo>
                    <a:pt x="4" y="68"/>
                  </a:lnTo>
                  <a:lnTo>
                    <a:pt x="11" y="70"/>
                  </a:lnTo>
                  <a:lnTo>
                    <a:pt x="12" y="77"/>
                  </a:lnTo>
                  <a:lnTo>
                    <a:pt x="12" y="80"/>
                  </a:lnTo>
                  <a:lnTo>
                    <a:pt x="24" y="87"/>
                  </a:lnTo>
                  <a:lnTo>
                    <a:pt x="28" y="116"/>
                  </a:lnTo>
                  <a:lnTo>
                    <a:pt x="35" y="113"/>
                  </a:lnTo>
                  <a:lnTo>
                    <a:pt x="38" y="108"/>
                  </a:lnTo>
                  <a:lnTo>
                    <a:pt x="36" y="99"/>
                  </a:lnTo>
                  <a:lnTo>
                    <a:pt x="38" y="94"/>
                  </a:lnTo>
                  <a:lnTo>
                    <a:pt x="55" y="82"/>
                  </a:lnTo>
                  <a:lnTo>
                    <a:pt x="55" y="80"/>
                  </a:lnTo>
                  <a:lnTo>
                    <a:pt x="55" y="70"/>
                  </a:lnTo>
                  <a:lnTo>
                    <a:pt x="52" y="68"/>
                  </a:lnTo>
                  <a:lnTo>
                    <a:pt x="48" y="63"/>
                  </a:lnTo>
                  <a:lnTo>
                    <a:pt x="45" y="63"/>
                  </a:lnTo>
                  <a:lnTo>
                    <a:pt x="43" y="62"/>
                  </a:lnTo>
                  <a:lnTo>
                    <a:pt x="40" y="62"/>
                  </a:lnTo>
                  <a:lnTo>
                    <a:pt x="36" y="60"/>
                  </a:lnTo>
                  <a:lnTo>
                    <a:pt x="35" y="57"/>
                  </a:lnTo>
                  <a:lnTo>
                    <a:pt x="35" y="53"/>
                  </a:lnTo>
                  <a:lnTo>
                    <a:pt x="38" y="55"/>
                  </a:lnTo>
                  <a:lnTo>
                    <a:pt x="40" y="51"/>
                  </a:lnTo>
                  <a:lnTo>
                    <a:pt x="48" y="43"/>
                  </a:lnTo>
                  <a:lnTo>
                    <a:pt x="53" y="34"/>
                  </a:lnTo>
                  <a:lnTo>
                    <a:pt x="52" y="29"/>
                  </a:lnTo>
                  <a:lnTo>
                    <a:pt x="47" y="26"/>
                  </a:lnTo>
                  <a:lnTo>
                    <a:pt x="45" y="19"/>
                  </a:lnTo>
                  <a:lnTo>
                    <a:pt x="45" y="16"/>
                  </a:lnTo>
                  <a:lnTo>
                    <a:pt x="50" y="14"/>
                  </a:lnTo>
                  <a:lnTo>
                    <a:pt x="52" y="7"/>
                  </a:lnTo>
                  <a:lnTo>
                    <a:pt x="52" y="4"/>
                  </a:lnTo>
                  <a:lnTo>
                    <a:pt x="43" y="9"/>
                  </a:lnTo>
                  <a:lnTo>
                    <a:pt x="41" y="9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33" y="0"/>
                  </a:lnTo>
                  <a:lnTo>
                    <a:pt x="26" y="2"/>
                  </a:lnTo>
                  <a:lnTo>
                    <a:pt x="19" y="5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5" name="Freeform 133">
              <a:extLst>
                <a:ext uri="{FF2B5EF4-FFF2-40B4-BE49-F238E27FC236}">
                  <a16:creationId xmlns:a16="http://schemas.microsoft.com/office/drawing/2014/main" id="{25AAF81C-3AB2-E24E-80D2-34B775AEF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641" y="2414446"/>
              <a:ext cx="102340" cy="84200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6" y="5"/>
                </a:cxn>
                <a:cxn ang="0">
                  <a:pos x="16" y="11"/>
                </a:cxn>
                <a:cxn ang="0">
                  <a:pos x="12" y="14"/>
                </a:cxn>
                <a:cxn ang="0">
                  <a:pos x="9" y="14"/>
                </a:cxn>
                <a:cxn ang="0">
                  <a:pos x="0" y="45"/>
                </a:cxn>
                <a:cxn ang="0">
                  <a:pos x="2" y="53"/>
                </a:cxn>
                <a:cxn ang="0">
                  <a:pos x="7" y="55"/>
                </a:cxn>
                <a:cxn ang="0">
                  <a:pos x="9" y="52"/>
                </a:cxn>
                <a:cxn ang="0">
                  <a:pos x="11" y="52"/>
                </a:cxn>
                <a:cxn ang="0">
                  <a:pos x="14" y="57"/>
                </a:cxn>
                <a:cxn ang="0">
                  <a:pos x="19" y="46"/>
                </a:cxn>
                <a:cxn ang="0">
                  <a:pos x="24" y="50"/>
                </a:cxn>
                <a:cxn ang="0">
                  <a:pos x="26" y="53"/>
                </a:cxn>
                <a:cxn ang="0">
                  <a:pos x="33" y="52"/>
                </a:cxn>
                <a:cxn ang="0">
                  <a:pos x="35" y="50"/>
                </a:cxn>
                <a:cxn ang="0">
                  <a:pos x="38" y="52"/>
                </a:cxn>
                <a:cxn ang="0">
                  <a:pos x="41" y="50"/>
                </a:cxn>
                <a:cxn ang="0">
                  <a:pos x="46" y="53"/>
                </a:cxn>
                <a:cxn ang="0">
                  <a:pos x="52" y="52"/>
                </a:cxn>
                <a:cxn ang="0">
                  <a:pos x="58" y="57"/>
                </a:cxn>
                <a:cxn ang="0">
                  <a:pos x="65" y="63"/>
                </a:cxn>
                <a:cxn ang="0">
                  <a:pos x="72" y="69"/>
                </a:cxn>
                <a:cxn ang="0">
                  <a:pos x="76" y="75"/>
                </a:cxn>
                <a:cxn ang="0">
                  <a:pos x="82" y="81"/>
                </a:cxn>
                <a:cxn ang="0">
                  <a:pos x="91" y="75"/>
                </a:cxn>
                <a:cxn ang="0">
                  <a:pos x="82" y="70"/>
                </a:cxn>
                <a:cxn ang="0">
                  <a:pos x="81" y="65"/>
                </a:cxn>
                <a:cxn ang="0">
                  <a:pos x="77" y="63"/>
                </a:cxn>
                <a:cxn ang="0">
                  <a:pos x="76" y="60"/>
                </a:cxn>
                <a:cxn ang="0">
                  <a:pos x="72" y="60"/>
                </a:cxn>
                <a:cxn ang="0">
                  <a:pos x="67" y="50"/>
                </a:cxn>
                <a:cxn ang="0">
                  <a:pos x="60" y="48"/>
                </a:cxn>
                <a:cxn ang="0">
                  <a:pos x="57" y="45"/>
                </a:cxn>
                <a:cxn ang="0">
                  <a:pos x="52" y="45"/>
                </a:cxn>
                <a:cxn ang="0">
                  <a:pos x="50" y="41"/>
                </a:cxn>
                <a:cxn ang="0">
                  <a:pos x="50" y="38"/>
                </a:cxn>
                <a:cxn ang="0">
                  <a:pos x="48" y="38"/>
                </a:cxn>
                <a:cxn ang="0">
                  <a:pos x="46" y="38"/>
                </a:cxn>
                <a:cxn ang="0">
                  <a:pos x="46" y="41"/>
                </a:cxn>
                <a:cxn ang="0">
                  <a:pos x="45" y="41"/>
                </a:cxn>
                <a:cxn ang="0">
                  <a:pos x="43" y="36"/>
                </a:cxn>
                <a:cxn ang="0">
                  <a:pos x="41" y="34"/>
                </a:cxn>
                <a:cxn ang="0">
                  <a:pos x="38" y="29"/>
                </a:cxn>
                <a:cxn ang="0">
                  <a:pos x="33" y="7"/>
                </a:cxn>
                <a:cxn ang="0">
                  <a:pos x="28" y="0"/>
                </a:cxn>
              </a:cxnLst>
              <a:rect l="0" t="0" r="r" b="b"/>
              <a:pathLst>
                <a:path w="92" h="82">
                  <a:moveTo>
                    <a:pt x="28" y="0"/>
                  </a:moveTo>
                  <a:lnTo>
                    <a:pt x="26" y="5"/>
                  </a:lnTo>
                  <a:lnTo>
                    <a:pt x="16" y="11"/>
                  </a:lnTo>
                  <a:lnTo>
                    <a:pt x="12" y="14"/>
                  </a:lnTo>
                  <a:lnTo>
                    <a:pt x="9" y="14"/>
                  </a:lnTo>
                  <a:lnTo>
                    <a:pt x="0" y="45"/>
                  </a:lnTo>
                  <a:lnTo>
                    <a:pt x="2" y="53"/>
                  </a:lnTo>
                  <a:lnTo>
                    <a:pt x="7" y="55"/>
                  </a:lnTo>
                  <a:lnTo>
                    <a:pt x="9" y="52"/>
                  </a:lnTo>
                  <a:lnTo>
                    <a:pt x="11" y="52"/>
                  </a:lnTo>
                  <a:lnTo>
                    <a:pt x="14" y="57"/>
                  </a:lnTo>
                  <a:lnTo>
                    <a:pt x="19" y="46"/>
                  </a:lnTo>
                  <a:lnTo>
                    <a:pt x="24" y="50"/>
                  </a:lnTo>
                  <a:lnTo>
                    <a:pt x="26" y="53"/>
                  </a:lnTo>
                  <a:lnTo>
                    <a:pt x="33" y="52"/>
                  </a:lnTo>
                  <a:lnTo>
                    <a:pt x="35" y="50"/>
                  </a:lnTo>
                  <a:lnTo>
                    <a:pt x="38" y="52"/>
                  </a:lnTo>
                  <a:lnTo>
                    <a:pt x="41" y="50"/>
                  </a:lnTo>
                  <a:lnTo>
                    <a:pt x="46" y="53"/>
                  </a:lnTo>
                  <a:lnTo>
                    <a:pt x="52" y="52"/>
                  </a:lnTo>
                  <a:lnTo>
                    <a:pt x="58" y="57"/>
                  </a:lnTo>
                  <a:lnTo>
                    <a:pt x="65" y="63"/>
                  </a:lnTo>
                  <a:lnTo>
                    <a:pt x="72" y="69"/>
                  </a:lnTo>
                  <a:lnTo>
                    <a:pt x="76" y="75"/>
                  </a:lnTo>
                  <a:lnTo>
                    <a:pt x="82" y="81"/>
                  </a:lnTo>
                  <a:lnTo>
                    <a:pt x="91" y="75"/>
                  </a:lnTo>
                  <a:lnTo>
                    <a:pt x="82" y="70"/>
                  </a:lnTo>
                  <a:lnTo>
                    <a:pt x="81" y="65"/>
                  </a:lnTo>
                  <a:lnTo>
                    <a:pt x="77" y="63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67" y="50"/>
                  </a:lnTo>
                  <a:lnTo>
                    <a:pt x="60" y="48"/>
                  </a:lnTo>
                  <a:lnTo>
                    <a:pt x="57" y="45"/>
                  </a:lnTo>
                  <a:lnTo>
                    <a:pt x="52" y="45"/>
                  </a:lnTo>
                  <a:lnTo>
                    <a:pt x="50" y="41"/>
                  </a:lnTo>
                  <a:lnTo>
                    <a:pt x="50" y="38"/>
                  </a:lnTo>
                  <a:lnTo>
                    <a:pt x="48" y="38"/>
                  </a:lnTo>
                  <a:lnTo>
                    <a:pt x="46" y="38"/>
                  </a:lnTo>
                  <a:lnTo>
                    <a:pt x="46" y="41"/>
                  </a:lnTo>
                  <a:lnTo>
                    <a:pt x="45" y="41"/>
                  </a:lnTo>
                  <a:lnTo>
                    <a:pt x="43" y="36"/>
                  </a:lnTo>
                  <a:lnTo>
                    <a:pt x="41" y="34"/>
                  </a:lnTo>
                  <a:lnTo>
                    <a:pt x="38" y="29"/>
                  </a:lnTo>
                  <a:lnTo>
                    <a:pt x="33" y="7"/>
                  </a:lnTo>
                  <a:lnTo>
                    <a:pt x="28" y="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6" name="Freeform 134">
              <a:extLst>
                <a:ext uri="{FF2B5EF4-FFF2-40B4-BE49-F238E27FC236}">
                  <a16:creationId xmlns:a16="http://schemas.microsoft.com/office/drawing/2014/main" id="{52838DC4-87DA-FF4C-B480-60014C39C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5183" y="2491458"/>
              <a:ext cx="23360" cy="27724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6" y="6"/>
                </a:cxn>
                <a:cxn ang="0">
                  <a:pos x="5" y="7"/>
                </a:cxn>
                <a:cxn ang="0">
                  <a:pos x="3" y="16"/>
                </a:cxn>
                <a:cxn ang="0">
                  <a:pos x="0" y="23"/>
                </a:cxn>
                <a:cxn ang="0">
                  <a:pos x="1" y="26"/>
                </a:cxn>
                <a:cxn ang="0">
                  <a:pos x="6" y="26"/>
                </a:cxn>
                <a:cxn ang="0">
                  <a:pos x="10" y="24"/>
                </a:cxn>
                <a:cxn ang="0">
                  <a:pos x="13" y="26"/>
                </a:cxn>
                <a:cxn ang="0">
                  <a:pos x="18" y="19"/>
                </a:cxn>
                <a:cxn ang="0">
                  <a:pos x="17" y="17"/>
                </a:cxn>
                <a:cxn ang="0">
                  <a:pos x="10" y="19"/>
                </a:cxn>
                <a:cxn ang="0">
                  <a:pos x="8" y="17"/>
                </a:cxn>
                <a:cxn ang="0">
                  <a:pos x="11" y="17"/>
                </a:cxn>
                <a:cxn ang="0">
                  <a:pos x="11" y="14"/>
                </a:cxn>
                <a:cxn ang="0">
                  <a:pos x="20" y="11"/>
                </a:cxn>
                <a:cxn ang="0">
                  <a:pos x="20" y="6"/>
                </a:cxn>
                <a:cxn ang="0">
                  <a:pos x="15" y="0"/>
                </a:cxn>
              </a:cxnLst>
              <a:rect l="0" t="0" r="r" b="b"/>
              <a:pathLst>
                <a:path w="21" h="27">
                  <a:moveTo>
                    <a:pt x="15" y="0"/>
                  </a:moveTo>
                  <a:lnTo>
                    <a:pt x="6" y="6"/>
                  </a:lnTo>
                  <a:lnTo>
                    <a:pt x="5" y="7"/>
                  </a:lnTo>
                  <a:lnTo>
                    <a:pt x="3" y="16"/>
                  </a:lnTo>
                  <a:lnTo>
                    <a:pt x="0" y="23"/>
                  </a:lnTo>
                  <a:lnTo>
                    <a:pt x="1" y="26"/>
                  </a:lnTo>
                  <a:lnTo>
                    <a:pt x="6" y="26"/>
                  </a:lnTo>
                  <a:lnTo>
                    <a:pt x="10" y="24"/>
                  </a:lnTo>
                  <a:lnTo>
                    <a:pt x="13" y="26"/>
                  </a:lnTo>
                  <a:lnTo>
                    <a:pt x="18" y="19"/>
                  </a:lnTo>
                  <a:lnTo>
                    <a:pt x="17" y="17"/>
                  </a:lnTo>
                  <a:lnTo>
                    <a:pt x="10" y="19"/>
                  </a:lnTo>
                  <a:lnTo>
                    <a:pt x="8" y="17"/>
                  </a:lnTo>
                  <a:lnTo>
                    <a:pt x="11" y="17"/>
                  </a:lnTo>
                  <a:lnTo>
                    <a:pt x="11" y="14"/>
                  </a:lnTo>
                  <a:lnTo>
                    <a:pt x="20" y="11"/>
                  </a:lnTo>
                  <a:lnTo>
                    <a:pt x="20" y="6"/>
                  </a:lnTo>
                  <a:lnTo>
                    <a:pt x="15" y="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7" name="Freeform 135">
              <a:extLst>
                <a:ext uri="{FF2B5EF4-FFF2-40B4-BE49-F238E27FC236}">
                  <a16:creationId xmlns:a16="http://schemas.microsoft.com/office/drawing/2014/main" id="{B5FAB1E8-6279-4E4C-854C-6B8920966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3377" y="2476055"/>
              <a:ext cx="181320" cy="137595"/>
            </a:xfrm>
            <a:custGeom>
              <a:avLst/>
              <a:gdLst/>
              <a:ahLst/>
              <a:cxnLst>
                <a:cxn ang="0">
                  <a:pos x="22" y="104"/>
                </a:cxn>
                <a:cxn ang="0">
                  <a:pos x="32" y="111"/>
                </a:cxn>
                <a:cxn ang="0">
                  <a:pos x="39" y="118"/>
                </a:cxn>
                <a:cxn ang="0">
                  <a:pos x="39" y="126"/>
                </a:cxn>
                <a:cxn ang="0">
                  <a:pos x="47" y="131"/>
                </a:cxn>
                <a:cxn ang="0">
                  <a:pos x="49" y="133"/>
                </a:cxn>
                <a:cxn ang="0">
                  <a:pos x="58" y="131"/>
                </a:cxn>
                <a:cxn ang="0">
                  <a:pos x="68" y="130"/>
                </a:cxn>
                <a:cxn ang="0">
                  <a:pos x="76" y="125"/>
                </a:cxn>
                <a:cxn ang="0">
                  <a:pos x="83" y="119"/>
                </a:cxn>
                <a:cxn ang="0">
                  <a:pos x="88" y="104"/>
                </a:cxn>
                <a:cxn ang="0">
                  <a:pos x="95" y="97"/>
                </a:cxn>
                <a:cxn ang="0">
                  <a:pos x="116" y="102"/>
                </a:cxn>
                <a:cxn ang="0">
                  <a:pos x="129" y="85"/>
                </a:cxn>
                <a:cxn ang="0">
                  <a:pos x="140" y="70"/>
                </a:cxn>
                <a:cxn ang="0">
                  <a:pos x="148" y="39"/>
                </a:cxn>
                <a:cxn ang="0">
                  <a:pos x="162" y="31"/>
                </a:cxn>
                <a:cxn ang="0">
                  <a:pos x="157" y="19"/>
                </a:cxn>
                <a:cxn ang="0">
                  <a:pos x="150" y="0"/>
                </a:cxn>
                <a:cxn ang="0">
                  <a:pos x="143" y="3"/>
                </a:cxn>
                <a:cxn ang="0">
                  <a:pos x="133" y="9"/>
                </a:cxn>
                <a:cxn ang="0">
                  <a:pos x="105" y="7"/>
                </a:cxn>
                <a:cxn ang="0">
                  <a:pos x="92" y="15"/>
                </a:cxn>
                <a:cxn ang="0">
                  <a:pos x="73" y="7"/>
                </a:cxn>
                <a:cxn ang="0">
                  <a:pos x="61" y="12"/>
                </a:cxn>
                <a:cxn ang="0">
                  <a:pos x="51" y="5"/>
                </a:cxn>
                <a:cxn ang="0">
                  <a:pos x="29" y="2"/>
                </a:cxn>
                <a:cxn ang="0">
                  <a:pos x="17" y="14"/>
                </a:cxn>
                <a:cxn ang="0">
                  <a:pos x="13" y="29"/>
                </a:cxn>
                <a:cxn ang="0">
                  <a:pos x="15" y="39"/>
                </a:cxn>
                <a:cxn ang="0">
                  <a:pos x="12" y="49"/>
                </a:cxn>
                <a:cxn ang="0">
                  <a:pos x="13" y="55"/>
                </a:cxn>
                <a:cxn ang="0">
                  <a:pos x="6" y="67"/>
                </a:cxn>
                <a:cxn ang="0">
                  <a:pos x="0" y="94"/>
                </a:cxn>
              </a:cxnLst>
              <a:rect l="0" t="0" r="r" b="b"/>
              <a:pathLst>
                <a:path w="163" h="134">
                  <a:moveTo>
                    <a:pt x="1" y="104"/>
                  </a:moveTo>
                  <a:lnTo>
                    <a:pt x="22" y="104"/>
                  </a:lnTo>
                  <a:lnTo>
                    <a:pt x="30" y="107"/>
                  </a:lnTo>
                  <a:lnTo>
                    <a:pt x="32" y="111"/>
                  </a:lnTo>
                  <a:lnTo>
                    <a:pt x="35" y="116"/>
                  </a:lnTo>
                  <a:lnTo>
                    <a:pt x="39" y="118"/>
                  </a:lnTo>
                  <a:lnTo>
                    <a:pt x="37" y="118"/>
                  </a:lnTo>
                  <a:lnTo>
                    <a:pt x="39" y="126"/>
                  </a:lnTo>
                  <a:lnTo>
                    <a:pt x="42" y="131"/>
                  </a:lnTo>
                  <a:lnTo>
                    <a:pt x="47" y="131"/>
                  </a:lnTo>
                  <a:lnTo>
                    <a:pt x="49" y="131"/>
                  </a:lnTo>
                  <a:lnTo>
                    <a:pt x="49" y="133"/>
                  </a:lnTo>
                  <a:lnTo>
                    <a:pt x="53" y="131"/>
                  </a:lnTo>
                  <a:lnTo>
                    <a:pt x="58" y="131"/>
                  </a:lnTo>
                  <a:lnTo>
                    <a:pt x="61" y="128"/>
                  </a:lnTo>
                  <a:lnTo>
                    <a:pt x="68" y="130"/>
                  </a:lnTo>
                  <a:lnTo>
                    <a:pt x="76" y="130"/>
                  </a:lnTo>
                  <a:lnTo>
                    <a:pt x="76" y="125"/>
                  </a:lnTo>
                  <a:lnTo>
                    <a:pt x="80" y="126"/>
                  </a:lnTo>
                  <a:lnTo>
                    <a:pt x="83" y="119"/>
                  </a:lnTo>
                  <a:lnTo>
                    <a:pt x="85" y="111"/>
                  </a:lnTo>
                  <a:lnTo>
                    <a:pt x="88" y="104"/>
                  </a:lnTo>
                  <a:lnTo>
                    <a:pt x="94" y="101"/>
                  </a:lnTo>
                  <a:lnTo>
                    <a:pt x="95" y="97"/>
                  </a:lnTo>
                  <a:lnTo>
                    <a:pt x="109" y="96"/>
                  </a:lnTo>
                  <a:lnTo>
                    <a:pt x="116" y="102"/>
                  </a:lnTo>
                  <a:lnTo>
                    <a:pt x="121" y="102"/>
                  </a:lnTo>
                  <a:lnTo>
                    <a:pt x="129" y="85"/>
                  </a:lnTo>
                  <a:lnTo>
                    <a:pt x="133" y="75"/>
                  </a:lnTo>
                  <a:lnTo>
                    <a:pt x="140" y="70"/>
                  </a:lnTo>
                  <a:lnTo>
                    <a:pt x="143" y="55"/>
                  </a:lnTo>
                  <a:lnTo>
                    <a:pt x="148" y="39"/>
                  </a:lnTo>
                  <a:lnTo>
                    <a:pt x="152" y="36"/>
                  </a:lnTo>
                  <a:lnTo>
                    <a:pt x="162" y="31"/>
                  </a:lnTo>
                  <a:lnTo>
                    <a:pt x="162" y="22"/>
                  </a:lnTo>
                  <a:lnTo>
                    <a:pt x="157" y="19"/>
                  </a:lnTo>
                  <a:lnTo>
                    <a:pt x="157" y="10"/>
                  </a:lnTo>
                  <a:lnTo>
                    <a:pt x="150" y="0"/>
                  </a:lnTo>
                  <a:lnTo>
                    <a:pt x="145" y="0"/>
                  </a:lnTo>
                  <a:lnTo>
                    <a:pt x="143" y="3"/>
                  </a:lnTo>
                  <a:lnTo>
                    <a:pt x="140" y="3"/>
                  </a:lnTo>
                  <a:lnTo>
                    <a:pt x="133" y="9"/>
                  </a:lnTo>
                  <a:lnTo>
                    <a:pt x="124" y="5"/>
                  </a:lnTo>
                  <a:lnTo>
                    <a:pt x="105" y="7"/>
                  </a:lnTo>
                  <a:lnTo>
                    <a:pt x="95" y="14"/>
                  </a:lnTo>
                  <a:lnTo>
                    <a:pt x="92" y="15"/>
                  </a:lnTo>
                  <a:lnTo>
                    <a:pt x="83" y="14"/>
                  </a:lnTo>
                  <a:lnTo>
                    <a:pt x="73" y="7"/>
                  </a:lnTo>
                  <a:lnTo>
                    <a:pt x="66" y="7"/>
                  </a:lnTo>
                  <a:lnTo>
                    <a:pt x="61" y="12"/>
                  </a:lnTo>
                  <a:lnTo>
                    <a:pt x="59" y="12"/>
                  </a:lnTo>
                  <a:lnTo>
                    <a:pt x="51" y="5"/>
                  </a:lnTo>
                  <a:lnTo>
                    <a:pt x="41" y="0"/>
                  </a:lnTo>
                  <a:lnTo>
                    <a:pt x="29" y="2"/>
                  </a:lnTo>
                  <a:lnTo>
                    <a:pt x="20" y="5"/>
                  </a:lnTo>
                  <a:lnTo>
                    <a:pt x="17" y="14"/>
                  </a:lnTo>
                  <a:lnTo>
                    <a:pt x="13" y="19"/>
                  </a:lnTo>
                  <a:lnTo>
                    <a:pt x="13" y="29"/>
                  </a:lnTo>
                  <a:lnTo>
                    <a:pt x="12" y="34"/>
                  </a:lnTo>
                  <a:lnTo>
                    <a:pt x="15" y="39"/>
                  </a:lnTo>
                  <a:lnTo>
                    <a:pt x="15" y="48"/>
                  </a:lnTo>
                  <a:lnTo>
                    <a:pt x="12" y="49"/>
                  </a:lnTo>
                  <a:lnTo>
                    <a:pt x="13" y="53"/>
                  </a:lnTo>
                  <a:lnTo>
                    <a:pt x="13" y="55"/>
                  </a:lnTo>
                  <a:lnTo>
                    <a:pt x="6" y="60"/>
                  </a:lnTo>
                  <a:lnTo>
                    <a:pt x="6" y="67"/>
                  </a:lnTo>
                  <a:lnTo>
                    <a:pt x="1" y="73"/>
                  </a:lnTo>
                  <a:lnTo>
                    <a:pt x="0" y="94"/>
                  </a:lnTo>
                  <a:lnTo>
                    <a:pt x="1" y="104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8" name="Freeform 136">
              <a:extLst>
                <a:ext uri="{FF2B5EF4-FFF2-40B4-BE49-F238E27FC236}">
                  <a16:creationId xmlns:a16="http://schemas.microsoft.com/office/drawing/2014/main" id="{8C58FCD4-79ED-9741-A652-1055B71B8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369" y="2486323"/>
              <a:ext cx="119027" cy="164293"/>
            </a:xfrm>
            <a:custGeom>
              <a:avLst/>
              <a:gdLst/>
              <a:ahLst/>
              <a:cxnLst>
                <a:cxn ang="0">
                  <a:pos x="39" y="150"/>
                </a:cxn>
                <a:cxn ang="0">
                  <a:pos x="51" y="150"/>
                </a:cxn>
                <a:cxn ang="0">
                  <a:pos x="66" y="152"/>
                </a:cxn>
                <a:cxn ang="0">
                  <a:pos x="85" y="152"/>
                </a:cxn>
                <a:cxn ang="0">
                  <a:pos x="97" y="154"/>
                </a:cxn>
                <a:cxn ang="0">
                  <a:pos x="104" y="159"/>
                </a:cxn>
                <a:cxn ang="0">
                  <a:pos x="106" y="155"/>
                </a:cxn>
                <a:cxn ang="0">
                  <a:pos x="106" y="142"/>
                </a:cxn>
                <a:cxn ang="0">
                  <a:pos x="104" y="142"/>
                </a:cxn>
                <a:cxn ang="0">
                  <a:pos x="94" y="135"/>
                </a:cxn>
                <a:cxn ang="0">
                  <a:pos x="83" y="115"/>
                </a:cxn>
                <a:cxn ang="0">
                  <a:pos x="83" y="99"/>
                </a:cxn>
                <a:cxn ang="0">
                  <a:pos x="89" y="94"/>
                </a:cxn>
                <a:cxn ang="0">
                  <a:pos x="95" y="79"/>
                </a:cxn>
                <a:cxn ang="0">
                  <a:pos x="90" y="62"/>
                </a:cxn>
                <a:cxn ang="0">
                  <a:pos x="87" y="60"/>
                </a:cxn>
                <a:cxn ang="0">
                  <a:pos x="80" y="57"/>
                </a:cxn>
                <a:cxn ang="0">
                  <a:pos x="77" y="50"/>
                </a:cxn>
                <a:cxn ang="0">
                  <a:pos x="77" y="46"/>
                </a:cxn>
                <a:cxn ang="0">
                  <a:pos x="80" y="43"/>
                </a:cxn>
                <a:cxn ang="0">
                  <a:pos x="92" y="45"/>
                </a:cxn>
                <a:cxn ang="0">
                  <a:pos x="94" y="43"/>
                </a:cxn>
                <a:cxn ang="0">
                  <a:pos x="94" y="39"/>
                </a:cxn>
                <a:cxn ang="0">
                  <a:pos x="87" y="29"/>
                </a:cxn>
                <a:cxn ang="0">
                  <a:pos x="89" y="17"/>
                </a:cxn>
                <a:cxn ang="0">
                  <a:pos x="83" y="4"/>
                </a:cxn>
                <a:cxn ang="0">
                  <a:pos x="82" y="2"/>
                </a:cxn>
                <a:cxn ang="0">
                  <a:pos x="80" y="0"/>
                </a:cxn>
                <a:cxn ang="0">
                  <a:pos x="77" y="0"/>
                </a:cxn>
                <a:cxn ang="0">
                  <a:pos x="77" y="9"/>
                </a:cxn>
                <a:cxn ang="0">
                  <a:pos x="82" y="12"/>
                </a:cxn>
                <a:cxn ang="0">
                  <a:pos x="82" y="21"/>
                </a:cxn>
                <a:cxn ang="0">
                  <a:pos x="72" y="26"/>
                </a:cxn>
                <a:cxn ang="0">
                  <a:pos x="68" y="29"/>
                </a:cxn>
                <a:cxn ang="0">
                  <a:pos x="63" y="45"/>
                </a:cxn>
                <a:cxn ang="0">
                  <a:pos x="60" y="60"/>
                </a:cxn>
                <a:cxn ang="0">
                  <a:pos x="53" y="65"/>
                </a:cxn>
                <a:cxn ang="0">
                  <a:pos x="49" y="75"/>
                </a:cxn>
                <a:cxn ang="0">
                  <a:pos x="41" y="92"/>
                </a:cxn>
                <a:cxn ang="0">
                  <a:pos x="36" y="92"/>
                </a:cxn>
                <a:cxn ang="0">
                  <a:pos x="29" y="86"/>
                </a:cxn>
                <a:cxn ang="0">
                  <a:pos x="15" y="87"/>
                </a:cxn>
                <a:cxn ang="0">
                  <a:pos x="14" y="91"/>
                </a:cxn>
                <a:cxn ang="0">
                  <a:pos x="8" y="94"/>
                </a:cxn>
                <a:cxn ang="0">
                  <a:pos x="5" y="101"/>
                </a:cxn>
                <a:cxn ang="0">
                  <a:pos x="3" y="109"/>
                </a:cxn>
                <a:cxn ang="0">
                  <a:pos x="0" y="116"/>
                </a:cxn>
                <a:cxn ang="0">
                  <a:pos x="2" y="120"/>
                </a:cxn>
                <a:cxn ang="0">
                  <a:pos x="5" y="120"/>
                </a:cxn>
                <a:cxn ang="0">
                  <a:pos x="7" y="125"/>
                </a:cxn>
                <a:cxn ang="0">
                  <a:pos x="12" y="128"/>
                </a:cxn>
                <a:cxn ang="0">
                  <a:pos x="17" y="126"/>
                </a:cxn>
                <a:cxn ang="0">
                  <a:pos x="15" y="132"/>
                </a:cxn>
                <a:cxn ang="0">
                  <a:pos x="17" y="133"/>
                </a:cxn>
                <a:cxn ang="0">
                  <a:pos x="20" y="137"/>
                </a:cxn>
                <a:cxn ang="0">
                  <a:pos x="17" y="152"/>
                </a:cxn>
                <a:cxn ang="0">
                  <a:pos x="39" y="150"/>
                </a:cxn>
              </a:cxnLst>
              <a:rect l="0" t="0" r="r" b="b"/>
              <a:pathLst>
                <a:path w="107" h="160">
                  <a:moveTo>
                    <a:pt x="39" y="150"/>
                  </a:moveTo>
                  <a:lnTo>
                    <a:pt x="51" y="150"/>
                  </a:lnTo>
                  <a:lnTo>
                    <a:pt x="66" y="152"/>
                  </a:lnTo>
                  <a:lnTo>
                    <a:pt x="85" y="152"/>
                  </a:lnTo>
                  <a:lnTo>
                    <a:pt x="97" y="154"/>
                  </a:lnTo>
                  <a:lnTo>
                    <a:pt x="104" y="159"/>
                  </a:lnTo>
                  <a:lnTo>
                    <a:pt x="106" y="155"/>
                  </a:lnTo>
                  <a:lnTo>
                    <a:pt x="106" y="142"/>
                  </a:lnTo>
                  <a:lnTo>
                    <a:pt x="104" y="142"/>
                  </a:lnTo>
                  <a:lnTo>
                    <a:pt x="94" y="135"/>
                  </a:lnTo>
                  <a:lnTo>
                    <a:pt x="83" y="115"/>
                  </a:lnTo>
                  <a:lnTo>
                    <a:pt x="83" y="99"/>
                  </a:lnTo>
                  <a:lnTo>
                    <a:pt x="89" y="94"/>
                  </a:lnTo>
                  <a:lnTo>
                    <a:pt x="95" y="79"/>
                  </a:lnTo>
                  <a:lnTo>
                    <a:pt x="90" y="62"/>
                  </a:lnTo>
                  <a:lnTo>
                    <a:pt x="87" y="60"/>
                  </a:lnTo>
                  <a:lnTo>
                    <a:pt x="80" y="57"/>
                  </a:lnTo>
                  <a:lnTo>
                    <a:pt x="77" y="50"/>
                  </a:lnTo>
                  <a:lnTo>
                    <a:pt x="77" y="46"/>
                  </a:lnTo>
                  <a:lnTo>
                    <a:pt x="80" y="43"/>
                  </a:lnTo>
                  <a:lnTo>
                    <a:pt x="92" y="45"/>
                  </a:lnTo>
                  <a:lnTo>
                    <a:pt x="94" y="43"/>
                  </a:lnTo>
                  <a:lnTo>
                    <a:pt x="94" y="39"/>
                  </a:lnTo>
                  <a:lnTo>
                    <a:pt x="87" y="29"/>
                  </a:lnTo>
                  <a:lnTo>
                    <a:pt x="89" y="17"/>
                  </a:lnTo>
                  <a:lnTo>
                    <a:pt x="83" y="4"/>
                  </a:lnTo>
                  <a:lnTo>
                    <a:pt x="82" y="2"/>
                  </a:lnTo>
                  <a:lnTo>
                    <a:pt x="80" y="0"/>
                  </a:lnTo>
                  <a:lnTo>
                    <a:pt x="77" y="0"/>
                  </a:lnTo>
                  <a:lnTo>
                    <a:pt x="77" y="9"/>
                  </a:lnTo>
                  <a:lnTo>
                    <a:pt x="82" y="12"/>
                  </a:lnTo>
                  <a:lnTo>
                    <a:pt x="82" y="21"/>
                  </a:lnTo>
                  <a:lnTo>
                    <a:pt x="72" y="26"/>
                  </a:lnTo>
                  <a:lnTo>
                    <a:pt x="68" y="29"/>
                  </a:lnTo>
                  <a:lnTo>
                    <a:pt x="63" y="45"/>
                  </a:lnTo>
                  <a:lnTo>
                    <a:pt x="60" y="60"/>
                  </a:lnTo>
                  <a:lnTo>
                    <a:pt x="53" y="65"/>
                  </a:lnTo>
                  <a:lnTo>
                    <a:pt x="49" y="75"/>
                  </a:lnTo>
                  <a:lnTo>
                    <a:pt x="41" y="92"/>
                  </a:lnTo>
                  <a:lnTo>
                    <a:pt x="36" y="92"/>
                  </a:lnTo>
                  <a:lnTo>
                    <a:pt x="29" y="86"/>
                  </a:lnTo>
                  <a:lnTo>
                    <a:pt x="15" y="87"/>
                  </a:lnTo>
                  <a:lnTo>
                    <a:pt x="14" y="91"/>
                  </a:lnTo>
                  <a:lnTo>
                    <a:pt x="8" y="94"/>
                  </a:lnTo>
                  <a:lnTo>
                    <a:pt x="5" y="101"/>
                  </a:lnTo>
                  <a:lnTo>
                    <a:pt x="3" y="109"/>
                  </a:lnTo>
                  <a:lnTo>
                    <a:pt x="0" y="116"/>
                  </a:lnTo>
                  <a:lnTo>
                    <a:pt x="2" y="120"/>
                  </a:lnTo>
                  <a:lnTo>
                    <a:pt x="5" y="120"/>
                  </a:lnTo>
                  <a:lnTo>
                    <a:pt x="7" y="125"/>
                  </a:lnTo>
                  <a:lnTo>
                    <a:pt x="12" y="128"/>
                  </a:lnTo>
                  <a:lnTo>
                    <a:pt x="17" y="126"/>
                  </a:lnTo>
                  <a:lnTo>
                    <a:pt x="15" y="132"/>
                  </a:lnTo>
                  <a:lnTo>
                    <a:pt x="17" y="133"/>
                  </a:lnTo>
                  <a:lnTo>
                    <a:pt x="20" y="137"/>
                  </a:lnTo>
                  <a:lnTo>
                    <a:pt x="17" y="152"/>
                  </a:lnTo>
                  <a:lnTo>
                    <a:pt x="39" y="15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9" name="Freeform 137">
              <a:extLst>
                <a:ext uri="{FF2B5EF4-FFF2-40B4-BE49-F238E27FC236}">
                  <a16:creationId xmlns:a16="http://schemas.microsoft.com/office/drawing/2014/main" id="{22129637-04D1-0E45-9DA9-A707C603C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7177" y="2686555"/>
              <a:ext cx="31147" cy="2567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17" y="1"/>
                </a:cxn>
                <a:cxn ang="0">
                  <a:pos x="15" y="5"/>
                </a:cxn>
                <a:cxn ang="0">
                  <a:pos x="10" y="3"/>
                </a:cxn>
                <a:cxn ang="0">
                  <a:pos x="5" y="12"/>
                </a:cxn>
                <a:cxn ang="0">
                  <a:pos x="0" y="18"/>
                </a:cxn>
                <a:cxn ang="0">
                  <a:pos x="2" y="22"/>
                </a:cxn>
                <a:cxn ang="0">
                  <a:pos x="3" y="20"/>
                </a:cxn>
                <a:cxn ang="0">
                  <a:pos x="5" y="20"/>
                </a:cxn>
                <a:cxn ang="0">
                  <a:pos x="9" y="24"/>
                </a:cxn>
                <a:cxn ang="0">
                  <a:pos x="12" y="22"/>
                </a:cxn>
                <a:cxn ang="0">
                  <a:pos x="14" y="18"/>
                </a:cxn>
                <a:cxn ang="0">
                  <a:pos x="21" y="17"/>
                </a:cxn>
                <a:cxn ang="0">
                  <a:pos x="24" y="18"/>
                </a:cxn>
                <a:cxn ang="0">
                  <a:pos x="27" y="12"/>
                </a:cxn>
                <a:cxn ang="0">
                  <a:pos x="21" y="0"/>
                </a:cxn>
              </a:cxnLst>
              <a:rect l="0" t="0" r="r" b="b"/>
              <a:pathLst>
                <a:path w="28" h="25">
                  <a:moveTo>
                    <a:pt x="21" y="0"/>
                  </a:moveTo>
                  <a:lnTo>
                    <a:pt x="17" y="1"/>
                  </a:lnTo>
                  <a:lnTo>
                    <a:pt x="15" y="5"/>
                  </a:lnTo>
                  <a:lnTo>
                    <a:pt x="10" y="3"/>
                  </a:lnTo>
                  <a:lnTo>
                    <a:pt x="5" y="12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20"/>
                  </a:lnTo>
                  <a:lnTo>
                    <a:pt x="9" y="24"/>
                  </a:lnTo>
                  <a:lnTo>
                    <a:pt x="12" y="22"/>
                  </a:lnTo>
                  <a:lnTo>
                    <a:pt x="14" y="18"/>
                  </a:lnTo>
                  <a:lnTo>
                    <a:pt x="21" y="17"/>
                  </a:lnTo>
                  <a:lnTo>
                    <a:pt x="24" y="18"/>
                  </a:lnTo>
                  <a:lnTo>
                    <a:pt x="27" y="12"/>
                  </a:lnTo>
                  <a:lnTo>
                    <a:pt x="21" y="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0" name="Freeform 138">
              <a:extLst>
                <a:ext uri="{FF2B5EF4-FFF2-40B4-BE49-F238E27FC236}">
                  <a16:creationId xmlns:a16="http://schemas.microsoft.com/office/drawing/2014/main" id="{407325DB-216E-224E-92FE-1DEB2582FB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4697" y="2516101"/>
              <a:ext cx="201344" cy="117059"/>
            </a:xfrm>
            <a:custGeom>
              <a:avLst/>
              <a:gdLst/>
              <a:ahLst/>
              <a:cxnLst>
                <a:cxn ang="0">
                  <a:pos x="173" y="80"/>
                </a:cxn>
                <a:cxn ang="0">
                  <a:pos x="168" y="82"/>
                </a:cxn>
                <a:cxn ang="0">
                  <a:pos x="163" y="80"/>
                </a:cxn>
                <a:cxn ang="0">
                  <a:pos x="149" y="80"/>
                </a:cxn>
                <a:cxn ang="0">
                  <a:pos x="142" y="86"/>
                </a:cxn>
                <a:cxn ang="0">
                  <a:pos x="123" y="87"/>
                </a:cxn>
                <a:cxn ang="0">
                  <a:pos x="113" y="87"/>
                </a:cxn>
                <a:cxn ang="0">
                  <a:pos x="110" y="92"/>
                </a:cxn>
                <a:cxn ang="0">
                  <a:pos x="87" y="89"/>
                </a:cxn>
                <a:cxn ang="0">
                  <a:pos x="84" y="91"/>
                </a:cxn>
                <a:cxn ang="0">
                  <a:pos x="69" y="80"/>
                </a:cxn>
                <a:cxn ang="0">
                  <a:pos x="60" y="101"/>
                </a:cxn>
                <a:cxn ang="0">
                  <a:pos x="48" y="106"/>
                </a:cxn>
                <a:cxn ang="0">
                  <a:pos x="35" y="103"/>
                </a:cxn>
                <a:cxn ang="0">
                  <a:pos x="23" y="113"/>
                </a:cxn>
                <a:cxn ang="0">
                  <a:pos x="11" y="106"/>
                </a:cxn>
                <a:cxn ang="0">
                  <a:pos x="0" y="70"/>
                </a:cxn>
                <a:cxn ang="0">
                  <a:pos x="12" y="50"/>
                </a:cxn>
                <a:cxn ang="0">
                  <a:pos x="26" y="46"/>
                </a:cxn>
                <a:cxn ang="0">
                  <a:pos x="33" y="48"/>
                </a:cxn>
                <a:cxn ang="0">
                  <a:pos x="57" y="41"/>
                </a:cxn>
                <a:cxn ang="0">
                  <a:pos x="62" y="31"/>
                </a:cxn>
                <a:cxn ang="0">
                  <a:pos x="82" y="26"/>
                </a:cxn>
                <a:cxn ang="0">
                  <a:pos x="89" y="22"/>
                </a:cxn>
                <a:cxn ang="0">
                  <a:pos x="99" y="10"/>
                </a:cxn>
                <a:cxn ang="0">
                  <a:pos x="103" y="2"/>
                </a:cxn>
                <a:cxn ang="0">
                  <a:pos x="125" y="14"/>
                </a:cxn>
                <a:cxn ang="0">
                  <a:pos x="125" y="29"/>
                </a:cxn>
                <a:cxn ang="0">
                  <a:pos x="134" y="33"/>
                </a:cxn>
                <a:cxn ang="0">
                  <a:pos x="142" y="38"/>
                </a:cxn>
                <a:cxn ang="0">
                  <a:pos x="149" y="48"/>
                </a:cxn>
                <a:cxn ang="0">
                  <a:pos x="168" y="68"/>
                </a:cxn>
                <a:cxn ang="0">
                  <a:pos x="180" y="80"/>
                </a:cxn>
              </a:cxnLst>
              <a:rect l="0" t="0" r="r" b="b"/>
              <a:pathLst>
                <a:path w="181" h="114">
                  <a:moveTo>
                    <a:pt x="180" y="80"/>
                  </a:moveTo>
                  <a:lnTo>
                    <a:pt x="173" y="80"/>
                  </a:lnTo>
                  <a:lnTo>
                    <a:pt x="171" y="84"/>
                  </a:lnTo>
                  <a:lnTo>
                    <a:pt x="168" y="82"/>
                  </a:lnTo>
                  <a:lnTo>
                    <a:pt x="166" y="84"/>
                  </a:lnTo>
                  <a:lnTo>
                    <a:pt x="163" y="80"/>
                  </a:lnTo>
                  <a:lnTo>
                    <a:pt x="154" y="82"/>
                  </a:lnTo>
                  <a:lnTo>
                    <a:pt x="149" y="80"/>
                  </a:lnTo>
                  <a:lnTo>
                    <a:pt x="147" y="84"/>
                  </a:lnTo>
                  <a:lnTo>
                    <a:pt x="142" y="86"/>
                  </a:lnTo>
                  <a:lnTo>
                    <a:pt x="139" y="82"/>
                  </a:lnTo>
                  <a:lnTo>
                    <a:pt x="123" y="87"/>
                  </a:lnTo>
                  <a:lnTo>
                    <a:pt x="116" y="86"/>
                  </a:lnTo>
                  <a:lnTo>
                    <a:pt x="113" y="87"/>
                  </a:lnTo>
                  <a:lnTo>
                    <a:pt x="111" y="92"/>
                  </a:lnTo>
                  <a:lnTo>
                    <a:pt x="110" y="92"/>
                  </a:lnTo>
                  <a:lnTo>
                    <a:pt x="98" y="92"/>
                  </a:lnTo>
                  <a:lnTo>
                    <a:pt x="87" y="89"/>
                  </a:lnTo>
                  <a:lnTo>
                    <a:pt x="86" y="91"/>
                  </a:lnTo>
                  <a:lnTo>
                    <a:pt x="84" y="91"/>
                  </a:lnTo>
                  <a:lnTo>
                    <a:pt x="77" y="82"/>
                  </a:lnTo>
                  <a:lnTo>
                    <a:pt x="69" y="80"/>
                  </a:lnTo>
                  <a:lnTo>
                    <a:pt x="60" y="91"/>
                  </a:lnTo>
                  <a:lnTo>
                    <a:pt x="60" y="101"/>
                  </a:lnTo>
                  <a:lnTo>
                    <a:pt x="57" y="101"/>
                  </a:lnTo>
                  <a:lnTo>
                    <a:pt x="48" y="106"/>
                  </a:lnTo>
                  <a:lnTo>
                    <a:pt x="40" y="101"/>
                  </a:lnTo>
                  <a:lnTo>
                    <a:pt x="35" y="103"/>
                  </a:lnTo>
                  <a:lnTo>
                    <a:pt x="28" y="106"/>
                  </a:lnTo>
                  <a:lnTo>
                    <a:pt x="23" y="113"/>
                  </a:lnTo>
                  <a:lnTo>
                    <a:pt x="21" y="113"/>
                  </a:lnTo>
                  <a:lnTo>
                    <a:pt x="11" y="106"/>
                  </a:lnTo>
                  <a:lnTo>
                    <a:pt x="0" y="86"/>
                  </a:lnTo>
                  <a:lnTo>
                    <a:pt x="0" y="70"/>
                  </a:lnTo>
                  <a:lnTo>
                    <a:pt x="6" y="65"/>
                  </a:lnTo>
                  <a:lnTo>
                    <a:pt x="12" y="50"/>
                  </a:lnTo>
                  <a:lnTo>
                    <a:pt x="21" y="50"/>
                  </a:lnTo>
                  <a:lnTo>
                    <a:pt x="26" y="46"/>
                  </a:lnTo>
                  <a:lnTo>
                    <a:pt x="28" y="45"/>
                  </a:lnTo>
                  <a:lnTo>
                    <a:pt x="33" y="48"/>
                  </a:lnTo>
                  <a:lnTo>
                    <a:pt x="45" y="43"/>
                  </a:lnTo>
                  <a:lnTo>
                    <a:pt x="57" y="41"/>
                  </a:lnTo>
                  <a:lnTo>
                    <a:pt x="64" y="34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82" y="26"/>
                  </a:lnTo>
                  <a:lnTo>
                    <a:pt x="84" y="24"/>
                  </a:lnTo>
                  <a:lnTo>
                    <a:pt x="89" y="22"/>
                  </a:lnTo>
                  <a:lnTo>
                    <a:pt x="91" y="19"/>
                  </a:lnTo>
                  <a:lnTo>
                    <a:pt x="99" y="10"/>
                  </a:lnTo>
                  <a:lnTo>
                    <a:pt x="99" y="7"/>
                  </a:lnTo>
                  <a:lnTo>
                    <a:pt x="103" y="2"/>
                  </a:lnTo>
                  <a:lnTo>
                    <a:pt x="113" y="0"/>
                  </a:lnTo>
                  <a:lnTo>
                    <a:pt x="125" y="14"/>
                  </a:lnTo>
                  <a:lnTo>
                    <a:pt x="125" y="17"/>
                  </a:lnTo>
                  <a:lnTo>
                    <a:pt x="125" y="29"/>
                  </a:lnTo>
                  <a:lnTo>
                    <a:pt x="127" y="33"/>
                  </a:lnTo>
                  <a:lnTo>
                    <a:pt x="134" y="33"/>
                  </a:lnTo>
                  <a:lnTo>
                    <a:pt x="134" y="38"/>
                  </a:lnTo>
                  <a:lnTo>
                    <a:pt x="142" y="38"/>
                  </a:lnTo>
                  <a:lnTo>
                    <a:pt x="147" y="41"/>
                  </a:lnTo>
                  <a:lnTo>
                    <a:pt x="149" y="48"/>
                  </a:lnTo>
                  <a:lnTo>
                    <a:pt x="163" y="58"/>
                  </a:lnTo>
                  <a:lnTo>
                    <a:pt x="168" y="68"/>
                  </a:lnTo>
                  <a:lnTo>
                    <a:pt x="178" y="74"/>
                  </a:lnTo>
                  <a:lnTo>
                    <a:pt x="180" y="8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1" name="Freeform 139">
              <a:extLst>
                <a:ext uri="{FF2B5EF4-FFF2-40B4-BE49-F238E27FC236}">
                  <a16:creationId xmlns:a16="http://schemas.microsoft.com/office/drawing/2014/main" id="{FE73D4B5-8F70-724A-8BDE-14A8F068B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5764" y="2733789"/>
              <a:ext cx="18911" cy="21564"/>
            </a:xfrm>
            <a:custGeom>
              <a:avLst/>
              <a:gdLst/>
              <a:ahLst/>
              <a:cxnLst>
                <a:cxn ang="0">
                  <a:pos x="6" y="20"/>
                </a:cxn>
                <a:cxn ang="0">
                  <a:pos x="3" y="18"/>
                </a:cxn>
                <a:cxn ang="0">
                  <a:pos x="1" y="10"/>
                </a:cxn>
                <a:cxn ang="0">
                  <a:pos x="0" y="10"/>
                </a:cxn>
                <a:cxn ang="0">
                  <a:pos x="7" y="5"/>
                </a:cxn>
                <a:cxn ang="0">
                  <a:pos x="9" y="1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6" y="5"/>
                </a:cxn>
                <a:cxn ang="0">
                  <a:pos x="9" y="8"/>
                </a:cxn>
                <a:cxn ang="0">
                  <a:pos x="7" y="18"/>
                </a:cxn>
                <a:cxn ang="0">
                  <a:pos x="6" y="20"/>
                </a:cxn>
              </a:cxnLst>
              <a:rect l="0" t="0" r="r" b="b"/>
              <a:pathLst>
                <a:path w="17" h="21">
                  <a:moveTo>
                    <a:pt x="6" y="20"/>
                  </a:moveTo>
                  <a:lnTo>
                    <a:pt x="3" y="18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7" y="5"/>
                  </a:lnTo>
                  <a:lnTo>
                    <a:pt x="9" y="1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16" y="5"/>
                  </a:lnTo>
                  <a:lnTo>
                    <a:pt x="9" y="8"/>
                  </a:lnTo>
                  <a:lnTo>
                    <a:pt x="7" y="18"/>
                  </a:lnTo>
                  <a:lnTo>
                    <a:pt x="6" y="2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2" name="Freeform 140">
              <a:extLst>
                <a:ext uri="{FF2B5EF4-FFF2-40B4-BE49-F238E27FC236}">
                  <a16:creationId xmlns:a16="http://schemas.microsoft.com/office/drawing/2014/main" id="{14EDB905-B88E-9249-9467-0469BBC15C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5706" y="2640348"/>
              <a:ext cx="86767" cy="89334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34" y="4"/>
                </a:cxn>
                <a:cxn ang="0">
                  <a:pos x="36" y="16"/>
                </a:cxn>
                <a:cxn ang="0">
                  <a:pos x="17" y="16"/>
                </a:cxn>
                <a:cxn ang="0">
                  <a:pos x="12" y="17"/>
                </a:cxn>
                <a:cxn ang="0">
                  <a:pos x="12" y="21"/>
                </a:cxn>
                <a:cxn ang="0">
                  <a:pos x="9" y="24"/>
                </a:cxn>
                <a:cxn ang="0">
                  <a:pos x="16" y="29"/>
                </a:cxn>
                <a:cxn ang="0">
                  <a:pos x="12" y="29"/>
                </a:cxn>
                <a:cxn ang="0">
                  <a:pos x="9" y="28"/>
                </a:cxn>
                <a:cxn ang="0">
                  <a:pos x="7" y="38"/>
                </a:cxn>
                <a:cxn ang="0">
                  <a:pos x="4" y="41"/>
                </a:cxn>
                <a:cxn ang="0">
                  <a:pos x="0" y="41"/>
                </a:cxn>
                <a:cxn ang="0">
                  <a:pos x="2" y="45"/>
                </a:cxn>
                <a:cxn ang="0">
                  <a:pos x="7" y="57"/>
                </a:cxn>
                <a:cxn ang="0">
                  <a:pos x="17" y="69"/>
                </a:cxn>
                <a:cxn ang="0">
                  <a:pos x="31" y="82"/>
                </a:cxn>
                <a:cxn ang="0">
                  <a:pos x="33" y="86"/>
                </a:cxn>
                <a:cxn ang="0">
                  <a:pos x="34" y="80"/>
                </a:cxn>
                <a:cxn ang="0">
                  <a:pos x="41" y="79"/>
                </a:cxn>
                <a:cxn ang="0">
                  <a:pos x="41" y="77"/>
                </a:cxn>
                <a:cxn ang="0">
                  <a:pos x="40" y="70"/>
                </a:cxn>
                <a:cxn ang="0">
                  <a:pos x="41" y="65"/>
                </a:cxn>
                <a:cxn ang="0">
                  <a:pos x="50" y="62"/>
                </a:cxn>
                <a:cxn ang="0">
                  <a:pos x="55" y="57"/>
                </a:cxn>
                <a:cxn ang="0">
                  <a:pos x="58" y="60"/>
                </a:cxn>
                <a:cxn ang="0">
                  <a:pos x="65" y="60"/>
                </a:cxn>
                <a:cxn ang="0">
                  <a:pos x="70" y="63"/>
                </a:cxn>
                <a:cxn ang="0">
                  <a:pos x="74" y="63"/>
                </a:cxn>
                <a:cxn ang="0">
                  <a:pos x="77" y="41"/>
                </a:cxn>
                <a:cxn ang="0">
                  <a:pos x="72" y="31"/>
                </a:cxn>
                <a:cxn ang="0">
                  <a:pos x="74" y="28"/>
                </a:cxn>
                <a:cxn ang="0">
                  <a:pos x="77" y="21"/>
                </a:cxn>
                <a:cxn ang="0">
                  <a:pos x="77" y="14"/>
                </a:cxn>
                <a:cxn ang="0">
                  <a:pos x="75" y="12"/>
                </a:cxn>
                <a:cxn ang="0">
                  <a:pos x="67" y="9"/>
                </a:cxn>
                <a:cxn ang="0">
                  <a:pos x="63" y="16"/>
                </a:cxn>
                <a:cxn ang="0">
                  <a:pos x="62" y="14"/>
                </a:cxn>
                <a:cxn ang="0">
                  <a:pos x="62" y="5"/>
                </a:cxn>
                <a:cxn ang="0">
                  <a:pos x="63" y="2"/>
                </a:cxn>
                <a:cxn ang="0">
                  <a:pos x="48" y="0"/>
                </a:cxn>
                <a:cxn ang="0">
                  <a:pos x="36" y="0"/>
                </a:cxn>
              </a:cxnLst>
              <a:rect l="0" t="0" r="r" b="b"/>
              <a:pathLst>
                <a:path w="78" h="87">
                  <a:moveTo>
                    <a:pt x="36" y="0"/>
                  </a:moveTo>
                  <a:lnTo>
                    <a:pt x="34" y="4"/>
                  </a:lnTo>
                  <a:lnTo>
                    <a:pt x="36" y="16"/>
                  </a:lnTo>
                  <a:lnTo>
                    <a:pt x="17" y="16"/>
                  </a:lnTo>
                  <a:lnTo>
                    <a:pt x="12" y="17"/>
                  </a:lnTo>
                  <a:lnTo>
                    <a:pt x="12" y="21"/>
                  </a:lnTo>
                  <a:lnTo>
                    <a:pt x="9" y="24"/>
                  </a:lnTo>
                  <a:lnTo>
                    <a:pt x="16" y="29"/>
                  </a:lnTo>
                  <a:lnTo>
                    <a:pt x="12" y="29"/>
                  </a:lnTo>
                  <a:lnTo>
                    <a:pt x="9" y="28"/>
                  </a:lnTo>
                  <a:lnTo>
                    <a:pt x="7" y="38"/>
                  </a:lnTo>
                  <a:lnTo>
                    <a:pt x="4" y="41"/>
                  </a:lnTo>
                  <a:lnTo>
                    <a:pt x="0" y="41"/>
                  </a:lnTo>
                  <a:lnTo>
                    <a:pt x="2" y="45"/>
                  </a:lnTo>
                  <a:lnTo>
                    <a:pt x="7" y="57"/>
                  </a:lnTo>
                  <a:lnTo>
                    <a:pt x="17" y="69"/>
                  </a:lnTo>
                  <a:lnTo>
                    <a:pt x="31" y="82"/>
                  </a:lnTo>
                  <a:lnTo>
                    <a:pt x="33" y="86"/>
                  </a:lnTo>
                  <a:lnTo>
                    <a:pt x="34" y="80"/>
                  </a:lnTo>
                  <a:lnTo>
                    <a:pt x="41" y="79"/>
                  </a:lnTo>
                  <a:lnTo>
                    <a:pt x="41" y="77"/>
                  </a:lnTo>
                  <a:lnTo>
                    <a:pt x="40" y="70"/>
                  </a:lnTo>
                  <a:lnTo>
                    <a:pt x="41" y="65"/>
                  </a:lnTo>
                  <a:lnTo>
                    <a:pt x="50" y="62"/>
                  </a:lnTo>
                  <a:lnTo>
                    <a:pt x="55" y="57"/>
                  </a:lnTo>
                  <a:lnTo>
                    <a:pt x="58" y="60"/>
                  </a:lnTo>
                  <a:lnTo>
                    <a:pt x="65" y="60"/>
                  </a:lnTo>
                  <a:lnTo>
                    <a:pt x="70" y="63"/>
                  </a:lnTo>
                  <a:lnTo>
                    <a:pt x="74" y="63"/>
                  </a:lnTo>
                  <a:lnTo>
                    <a:pt x="77" y="41"/>
                  </a:lnTo>
                  <a:lnTo>
                    <a:pt x="72" y="31"/>
                  </a:lnTo>
                  <a:lnTo>
                    <a:pt x="74" y="28"/>
                  </a:lnTo>
                  <a:lnTo>
                    <a:pt x="77" y="21"/>
                  </a:lnTo>
                  <a:lnTo>
                    <a:pt x="77" y="14"/>
                  </a:lnTo>
                  <a:lnTo>
                    <a:pt x="75" y="12"/>
                  </a:lnTo>
                  <a:lnTo>
                    <a:pt x="67" y="9"/>
                  </a:lnTo>
                  <a:lnTo>
                    <a:pt x="63" y="16"/>
                  </a:lnTo>
                  <a:lnTo>
                    <a:pt x="62" y="14"/>
                  </a:lnTo>
                  <a:lnTo>
                    <a:pt x="62" y="5"/>
                  </a:lnTo>
                  <a:lnTo>
                    <a:pt x="63" y="2"/>
                  </a:lnTo>
                  <a:lnTo>
                    <a:pt x="48" y="0"/>
                  </a:lnTo>
                  <a:lnTo>
                    <a:pt x="36" y="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3" name="Freeform 141">
              <a:extLst>
                <a:ext uri="{FF2B5EF4-FFF2-40B4-BE49-F238E27FC236}">
                  <a16:creationId xmlns:a16="http://schemas.microsoft.com/office/drawing/2014/main" id="{1DA08DC8-E95F-5648-8F7D-D5A7080E6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2415" y="2619811"/>
              <a:ext cx="116802" cy="125273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95" y="5"/>
                </a:cxn>
                <a:cxn ang="0">
                  <a:pos x="87" y="0"/>
                </a:cxn>
                <a:cxn ang="0">
                  <a:pos x="82" y="2"/>
                </a:cxn>
                <a:cxn ang="0">
                  <a:pos x="75" y="5"/>
                </a:cxn>
                <a:cxn ang="0">
                  <a:pos x="70" y="12"/>
                </a:cxn>
                <a:cxn ang="0">
                  <a:pos x="70" y="25"/>
                </a:cxn>
                <a:cxn ang="0">
                  <a:pos x="68" y="29"/>
                </a:cxn>
                <a:cxn ang="0">
                  <a:pos x="61" y="24"/>
                </a:cxn>
                <a:cxn ang="0">
                  <a:pos x="49" y="22"/>
                </a:cxn>
                <a:cxn ang="0">
                  <a:pos x="30" y="22"/>
                </a:cxn>
                <a:cxn ang="0">
                  <a:pos x="29" y="25"/>
                </a:cxn>
                <a:cxn ang="0">
                  <a:pos x="29" y="34"/>
                </a:cxn>
                <a:cxn ang="0">
                  <a:pos x="30" y="36"/>
                </a:cxn>
                <a:cxn ang="0">
                  <a:pos x="34" y="29"/>
                </a:cxn>
                <a:cxn ang="0">
                  <a:pos x="42" y="32"/>
                </a:cxn>
                <a:cxn ang="0">
                  <a:pos x="44" y="34"/>
                </a:cxn>
                <a:cxn ang="0">
                  <a:pos x="44" y="41"/>
                </a:cxn>
                <a:cxn ang="0">
                  <a:pos x="41" y="48"/>
                </a:cxn>
                <a:cxn ang="0">
                  <a:pos x="39" y="51"/>
                </a:cxn>
                <a:cxn ang="0">
                  <a:pos x="44" y="61"/>
                </a:cxn>
                <a:cxn ang="0">
                  <a:pos x="41" y="83"/>
                </a:cxn>
                <a:cxn ang="0">
                  <a:pos x="37" y="83"/>
                </a:cxn>
                <a:cxn ang="0">
                  <a:pos x="32" y="80"/>
                </a:cxn>
                <a:cxn ang="0">
                  <a:pos x="25" y="80"/>
                </a:cxn>
                <a:cxn ang="0">
                  <a:pos x="22" y="77"/>
                </a:cxn>
                <a:cxn ang="0">
                  <a:pos x="17" y="82"/>
                </a:cxn>
                <a:cxn ang="0">
                  <a:pos x="8" y="85"/>
                </a:cxn>
                <a:cxn ang="0">
                  <a:pos x="7" y="90"/>
                </a:cxn>
                <a:cxn ang="0">
                  <a:pos x="8" y="97"/>
                </a:cxn>
                <a:cxn ang="0">
                  <a:pos x="8" y="99"/>
                </a:cxn>
                <a:cxn ang="0">
                  <a:pos x="1" y="100"/>
                </a:cxn>
                <a:cxn ang="0">
                  <a:pos x="0" y="106"/>
                </a:cxn>
                <a:cxn ang="0">
                  <a:pos x="3" y="107"/>
                </a:cxn>
                <a:cxn ang="0">
                  <a:pos x="8" y="112"/>
                </a:cxn>
                <a:cxn ang="0">
                  <a:pos x="12" y="121"/>
                </a:cxn>
                <a:cxn ang="0">
                  <a:pos x="18" y="116"/>
                </a:cxn>
                <a:cxn ang="0">
                  <a:pos x="20" y="112"/>
                </a:cxn>
                <a:cxn ang="0">
                  <a:pos x="22" y="111"/>
                </a:cxn>
                <a:cxn ang="0">
                  <a:pos x="25" y="112"/>
                </a:cxn>
                <a:cxn ang="0">
                  <a:pos x="25" y="116"/>
                </a:cxn>
                <a:cxn ang="0">
                  <a:pos x="30" y="118"/>
                </a:cxn>
                <a:cxn ang="0">
                  <a:pos x="34" y="118"/>
                </a:cxn>
                <a:cxn ang="0">
                  <a:pos x="37" y="112"/>
                </a:cxn>
                <a:cxn ang="0">
                  <a:pos x="44" y="111"/>
                </a:cxn>
                <a:cxn ang="0">
                  <a:pos x="44" y="116"/>
                </a:cxn>
                <a:cxn ang="0">
                  <a:pos x="47" y="118"/>
                </a:cxn>
                <a:cxn ang="0">
                  <a:pos x="53" y="116"/>
                </a:cxn>
                <a:cxn ang="0">
                  <a:pos x="66" y="104"/>
                </a:cxn>
                <a:cxn ang="0">
                  <a:pos x="70" y="95"/>
                </a:cxn>
                <a:cxn ang="0">
                  <a:pos x="71" y="85"/>
                </a:cxn>
                <a:cxn ang="0">
                  <a:pos x="73" y="80"/>
                </a:cxn>
                <a:cxn ang="0">
                  <a:pos x="78" y="70"/>
                </a:cxn>
                <a:cxn ang="0">
                  <a:pos x="92" y="60"/>
                </a:cxn>
                <a:cxn ang="0">
                  <a:pos x="95" y="25"/>
                </a:cxn>
                <a:cxn ang="0">
                  <a:pos x="104" y="10"/>
                </a:cxn>
                <a:cxn ang="0">
                  <a:pos x="104" y="0"/>
                </a:cxn>
              </a:cxnLst>
              <a:rect l="0" t="0" r="r" b="b"/>
              <a:pathLst>
                <a:path w="105" h="122">
                  <a:moveTo>
                    <a:pt x="104" y="0"/>
                  </a:moveTo>
                  <a:lnTo>
                    <a:pt x="95" y="5"/>
                  </a:lnTo>
                  <a:lnTo>
                    <a:pt x="87" y="0"/>
                  </a:lnTo>
                  <a:lnTo>
                    <a:pt x="82" y="2"/>
                  </a:lnTo>
                  <a:lnTo>
                    <a:pt x="75" y="5"/>
                  </a:lnTo>
                  <a:lnTo>
                    <a:pt x="70" y="12"/>
                  </a:lnTo>
                  <a:lnTo>
                    <a:pt x="70" y="25"/>
                  </a:lnTo>
                  <a:lnTo>
                    <a:pt x="68" y="29"/>
                  </a:lnTo>
                  <a:lnTo>
                    <a:pt x="61" y="24"/>
                  </a:lnTo>
                  <a:lnTo>
                    <a:pt x="49" y="22"/>
                  </a:lnTo>
                  <a:lnTo>
                    <a:pt x="30" y="22"/>
                  </a:lnTo>
                  <a:lnTo>
                    <a:pt x="29" y="25"/>
                  </a:lnTo>
                  <a:lnTo>
                    <a:pt x="29" y="34"/>
                  </a:lnTo>
                  <a:lnTo>
                    <a:pt x="30" y="36"/>
                  </a:lnTo>
                  <a:lnTo>
                    <a:pt x="34" y="29"/>
                  </a:lnTo>
                  <a:lnTo>
                    <a:pt x="42" y="32"/>
                  </a:lnTo>
                  <a:lnTo>
                    <a:pt x="44" y="34"/>
                  </a:lnTo>
                  <a:lnTo>
                    <a:pt x="44" y="41"/>
                  </a:lnTo>
                  <a:lnTo>
                    <a:pt x="41" y="48"/>
                  </a:lnTo>
                  <a:lnTo>
                    <a:pt x="39" y="51"/>
                  </a:lnTo>
                  <a:lnTo>
                    <a:pt x="44" y="61"/>
                  </a:lnTo>
                  <a:lnTo>
                    <a:pt x="41" y="83"/>
                  </a:lnTo>
                  <a:lnTo>
                    <a:pt x="37" y="83"/>
                  </a:lnTo>
                  <a:lnTo>
                    <a:pt x="32" y="80"/>
                  </a:lnTo>
                  <a:lnTo>
                    <a:pt x="25" y="80"/>
                  </a:lnTo>
                  <a:lnTo>
                    <a:pt x="22" y="77"/>
                  </a:lnTo>
                  <a:lnTo>
                    <a:pt x="17" y="82"/>
                  </a:lnTo>
                  <a:lnTo>
                    <a:pt x="8" y="85"/>
                  </a:lnTo>
                  <a:lnTo>
                    <a:pt x="7" y="90"/>
                  </a:lnTo>
                  <a:lnTo>
                    <a:pt x="8" y="97"/>
                  </a:lnTo>
                  <a:lnTo>
                    <a:pt x="8" y="99"/>
                  </a:lnTo>
                  <a:lnTo>
                    <a:pt x="1" y="100"/>
                  </a:lnTo>
                  <a:lnTo>
                    <a:pt x="0" y="106"/>
                  </a:lnTo>
                  <a:lnTo>
                    <a:pt x="3" y="107"/>
                  </a:lnTo>
                  <a:lnTo>
                    <a:pt x="8" y="112"/>
                  </a:lnTo>
                  <a:lnTo>
                    <a:pt x="12" y="121"/>
                  </a:lnTo>
                  <a:lnTo>
                    <a:pt x="18" y="116"/>
                  </a:lnTo>
                  <a:lnTo>
                    <a:pt x="20" y="112"/>
                  </a:lnTo>
                  <a:lnTo>
                    <a:pt x="22" y="111"/>
                  </a:lnTo>
                  <a:lnTo>
                    <a:pt x="25" y="112"/>
                  </a:lnTo>
                  <a:lnTo>
                    <a:pt x="25" y="116"/>
                  </a:lnTo>
                  <a:lnTo>
                    <a:pt x="30" y="118"/>
                  </a:lnTo>
                  <a:lnTo>
                    <a:pt x="34" y="118"/>
                  </a:lnTo>
                  <a:lnTo>
                    <a:pt x="37" y="112"/>
                  </a:lnTo>
                  <a:lnTo>
                    <a:pt x="44" y="111"/>
                  </a:lnTo>
                  <a:lnTo>
                    <a:pt x="44" y="116"/>
                  </a:lnTo>
                  <a:lnTo>
                    <a:pt x="47" y="118"/>
                  </a:lnTo>
                  <a:lnTo>
                    <a:pt x="53" y="116"/>
                  </a:lnTo>
                  <a:lnTo>
                    <a:pt x="66" y="104"/>
                  </a:lnTo>
                  <a:lnTo>
                    <a:pt x="70" y="95"/>
                  </a:lnTo>
                  <a:lnTo>
                    <a:pt x="71" y="85"/>
                  </a:lnTo>
                  <a:lnTo>
                    <a:pt x="73" y="80"/>
                  </a:lnTo>
                  <a:lnTo>
                    <a:pt x="78" y="70"/>
                  </a:lnTo>
                  <a:lnTo>
                    <a:pt x="92" y="60"/>
                  </a:lnTo>
                  <a:lnTo>
                    <a:pt x="95" y="25"/>
                  </a:lnTo>
                  <a:lnTo>
                    <a:pt x="104" y="10"/>
                  </a:lnTo>
                  <a:lnTo>
                    <a:pt x="104" y="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4" name="Freeform 142">
              <a:extLst>
                <a:ext uri="{FF2B5EF4-FFF2-40B4-BE49-F238E27FC236}">
                  <a16:creationId xmlns:a16="http://schemas.microsoft.com/office/drawing/2014/main" id="{D5029294-B580-F64C-A91C-A645CDCF3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9402" y="2704011"/>
              <a:ext cx="27810" cy="30805"/>
            </a:xfrm>
            <a:custGeom>
              <a:avLst/>
              <a:gdLst/>
              <a:ahLst/>
              <a:cxnLst>
                <a:cxn ang="0">
                  <a:pos x="5" y="29"/>
                </a:cxn>
                <a:cxn ang="0">
                  <a:pos x="3" y="22"/>
                </a:cxn>
                <a:cxn ang="0">
                  <a:pos x="3" y="15"/>
                </a:cxn>
                <a:cxn ang="0">
                  <a:pos x="3" y="8"/>
                </a:cxn>
                <a:cxn ang="0">
                  <a:pos x="0" y="5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7" y="7"/>
                </a:cxn>
                <a:cxn ang="0">
                  <a:pos x="10" y="5"/>
                </a:cxn>
                <a:cxn ang="0">
                  <a:pos x="12" y="1"/>
                </a:cxn>
                <a:cxn ang="0">
                  <a:pos x="19" y="0"/>
                </a:cxn>
                <a:cxn ang="0">
                  <a:pos x="22" y="1"/>
                </a:cxn>
                <a:cxn ang="0">
                  <a:pos x="19" y="7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15" y="27"/>
                </a:cxn>
                <a:cxn ang="0">
                  <a:pos x="7" y="29"/>
                </a:cxn>
                <a:cxn ang="0">
                  <a:pos x="5" y="29"/>
                </a:cxn>
              </a:cxnLst>
              <a:rect l="0" t="0" r="r" b="b"/>
              <a:pathLst>
                <a:path w="25" h="30">
                  <a:moveTo>
                    <a:pt x="5" y="29"/>
                  </a:moveTo>
                  <a:lnTo>
                    <a:pt x="3" y="22"/>
                  </a:lnTo>
                  <a:lnTo>
                    <a:pt x="3" y="15"/>
                  </a:lnTo>
                  <a:lnTo>
                    <a:pt x="3" y="8"/>
                  </a:lnTo>
                  <a:lnTo>
                    <a:pt x="0" y="5"/>
                  </a:lnTo>
                  <a:lnTo>
                    <a:pt x="1" y="3"/>
                  </a:lnTo>
                  <a:lnTo>
                    <a:pt x="3" y="3"/>
                  </a:lnTo>
                  <a:lnTo>
                    <a:pt x="7" y="7"/>
                  </a:lnTo>
                  <a:lnTo>
                    <a:pt x="10" y="5"/>
                  </a:lnTo>
                  <a:lnTo>
                    <a:pt x="12" y="1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19" y="7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15" y="27"/>
                  </a:lnTo>
                  <a:lnTo>
                    <a:pt x="7" y="29"/>
                  </a:lnTo>
                  <a:lnTo>
                    <a:pt x="5" y="29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5" name="Freeform 143">
              <a:extLst>
                <a:ext uri="{FF2B5EF4-FFF2-40B4-BE49-F238E27FC236}">
                  <a16:creationId xmlns:a16="http://schemas.microsoft.com/office/drawing/2014/main" id="{92E8B50D-1325-B74B-A113-D53B977C2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5764" y="2733789"/>
              <a:ext cx="18911" cy="21564"/>
            </a:xfrm>
            <a:custGeom>
              <a:avLst/>
              <a:gdLst/>
              <a:ahLst/>
              <a:cxnLst>
                <a:cxn ang="0">
                  <a:pos x="6" y="20"/>
                </a:cxn>
                <a:cxn ang="0">
                  <a:pos x="3" y="18"/>
                </a:cxn>
                <a:cxn ang="0">
                  <a:pos x="1" y="10"/>
                </a:cxn>
                <a:cxn ang="0">
                  <a:pos x="0" y="10"/>
                </a:cxn>
                <a:cxn ang="0">
                  <a:pos x="7" y="5"/>
                </a:cxn>
                <a:cxn ang="0">
                  <a:pos x="9" y="1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6" y="5"/>
                </a:cxn>
                <a:cxn ang="0">
                  <a:pos x="9" y="8"/>
                </a:cxn>
                <a:cxn ang="0">
                  <a:pos x="7" y="18"/>
                </a:cxn>
                <a:cxn ang="0">
                  <a:pos x="6" y="20"/>
                </a:cxn>
              </a:cxnLst>
              <a:rect l="0" t="0" r="r" b="b"/>
              <a:pathLst>
                <a:path w="17" h="21">
                  <a:moveTo>
                    <a:pt x="6" y="20"/>
                  </a:moveTo>
                  <a:lnTo>
                    <a:pt x="3" y="18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7" y="5"/>
                  </a:lnTo>
                  <a:lnTo>
                    <a:pt x="9" y="1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16" y="5"/>
                  </a:lnTo>
                  <a:lnTo>
                    <a:pt x="9" y="8"/>
                  </a:lnTo>
                  <a:lnTo>
                    <a:pt x="7" y="18"/>
                  </a:lnTo>
                  <a:lnTo>
                    <a:pt x="6" y="2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6" name="Freeform 144">
              <a:extLst>
                <a:ext uri="{FF2B5EF4-FFF2-40B4-BE49-F238E27FC236}">
                  <a16:creationId xmlns:a16="http://schemas.microsoft.com/office/drawing/2014/main" id="{6A9A1FC8-150D-7347-88B5-EFCB9B001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5718" y="2640348"/>
              <a:ext cx="31147" cy="18483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5" y="2"/>
                </a:cxn>
                <a:cxn ang="0">
                  <a:pos x="3" y="11"/>
                </a:cxn>
                <a:cxn ang="0">
                  <a:pos x="0" y="14"/>
                </a:cxn>
                <a:cxn ang="0">
                  <a:pos x="3" y="17"/>
                </a:cxn>
                <a:cxn ang="0">
                  <a:pos x="8" y="16"/>
                </a:cxn>
                <a:cxn ang="0">
                  <a:pos x="27" y="16"/>
                </a:cxn>
                <a:cxn ang="0">
                  <a:pos x="25" y="4"/>
                </a:cxn>
                <a:cxn ang="0">
                  <a:pos x="27" y="0"/>
                </a:cxn>
              </a:cxnLst>
              <a:rect l="0" t="0" r="r" b="b"/>
              <a:pathLst>
                <a:path w="28" h="18">
                  <a:moveTo>
                    <a:pt x="27" y="0"/>
                  </a:moveTo>
                  <a:lnTo>
                    <a:pt x="5" y="2"/>
                  </a:lnTo>
                  <a:lnTo>
                    <a:pt x="3" y="11"/>
                  </a:lnTo>
                  <a:lnTo>
                    <a:pt x="0" y="14"/>
                  </a:lnTo>
                  <a:lnTo>
                    <a:pt x="3" y="17"/>
                  </a:lnTo>
                  <a:lnTo>
                    <a:pt x="8" y="16"/>
                  </a:lnTo>
                  <a:lnTo>
                    <a:pt x="27" y="16"/>
                  </a:lnTo>
                  <a:lnTo>
                    <a:pt x="25" y="4"/>
                  </a:lnTo>
                  <a:lnTo>
                    <a:pt x="27" y="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7" name="Freeform 145">
              <a:extLst>
                <a:ext uri="{FF2B5EF4-FFF2-40B4-BE49-F238E27FC236}">
                  <a16:creationId xmlns:a16="http://schemas.microsoft.com/office/drawing/2014/main" id="{2AAB67C9-8C01-F545-BD00-2007A3EC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7142" y="3091125"/>
              <a:ext cx="36709" cy="33885"/>
            </a:xfrm>
            <a:custGeom>
              <a:avLst/>
              <a:gdLst/>
              <a:ahLst/>
              <a:cxnLst>
                <a:cxn ang="0">
                  <a:pos x="32" y="11"/>
                </a:cxn>
                <a:cxn ang="0">
                  <a:pos x="32" y="13"/>
                </a:cxn>
                <a:cxn ang="0">
                  <a:pos x="27" y="23"/>
                </a:cxn>
                <a:cxn ang="0">
                  <a:pos x="19" y="27"/>
                </a:cxn>
                <a:cxn ang="0">
                  <a:pos x="15" y="32"/>
                </a:cxn>
                <a:cxn ang="0">
                  <a:pos x="12" y="32"/>
                </a:cxn>
                <a:cxn ang="0">
                  <a:pos x="7" y="27"/>
                </a:cxn>
                <a:cxn ang="0">
                  <a:pos x="0" y="17"/>
                </a:cxn>
                <a:cxn ang="0">
                  <a:pos x="8" y="6"/>
                </a:cxn>
                <a:cxn ang="0">
                  <a:pos x="19" y="0"/>
                </a:cxn>
                <a:cxn ang="0">
                  <a:pos x="22" y="0"/>
                </a:cxn>
                <a:cxn ang="0">
                  <a:pos x="25" y="1"/>
                </a:cxn>
                <a:cxn ang="0">
                  <a:pos x="32" y="11"/>
                </a:cxn>
              </a:cxnLst>
              <a:rect l="0" t="0" r="r" b="b"/>
              <a:pathLst>
                <a:path w="33" h="33">
                  <a:moveTo>
                    <a:pt x="32" y="11"/>
                  </a:moveTo>
                  <a:lnTo>
                    <a:pt x="32" y="13"/>
                  </a:lnTo>
                  <a:lnTo>
                    <a:pt x="27" y="23"/>
                  </a:lnTo>
                  <a:lnTo>
                    <a:pt x="19" y="27"/>
                  </a:lnTo>
                  <a:lnTo>
                    <a:pt x="15" y="32"/>
                  </a:lnTo>
                  <a:lnTo>
                    <a:pt x="12" y="32"/>
                  </a:lnTo>
                  <a:lnTo>
                    <a:pt x="7" y="27"/>
                  </a:lnTo>
                  <a:lnTo>
                    <a:pt x="0" y="17"/>
                  </a:lnTo>
                  <a:lnTo>
                    <a:pt x="8" y="6"/>
                  </a:lnTo>
                  <a:lnTo>
                    <a:pt x="19" y="0"/>
                  </a:lnTo>
                  <a:lnTo>
                    <a:pt x="22" y="0"/>
                  </a:lnTo>
                  <a:lnTo>
                    <a:pt x="25" y="1"/>
                  </a:lnTo>
                  <a:lnTo>
                    <a:pt x="32" y="11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8" name="Freeform 146">
              <a:extLst>
                <a:ext uri="{FF2B5EF4-FFF2-40B4-BE49-F238E27FC236}">
                  <a16:creationId xmlns:a16="http://schemas.microsoft.com/office/drawing/2014/main" id="{1C8E7A0A-3E82-D041-8691-743B43BEE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99" y="3044918"/>
              <a:ext cx="18911" cy="25670"/>
            </a:xfrm>
            <a:custGeom>
              <a:avLst/>
              <a:gdLst/>
              <a:ahLst/>
              <a:cxnLst>
                <a:cxn ang="0">
                  <a:pos x="16" y="17"/>
                </a:cxn>
                <a:cxn ang="0">
                  <a:pos x="16" y="2"/>
                </a:cxn>
                <a:cxn ang="0">
                  <a:pos x="13" y="5"/>
                </a:cxn>
                <a:cxn ang="0">
                  <a:pos x="6" y="0"/>
                </a:cxn>
                <a:cxn ang="0">
                  <a:pos x="3" y="4"/>
                </a:cxn>
                <a:cxn ang="0">
                  <a:pos x="0" y="14"/>
                </a:cxn>
                <a:cxn ang="0">
                  <a:pos x="1" y="22"/>
                </a:cxn>
                <a:cxn ang="0">
                  <a:pos x="8" y="22"/>
                </a:cxn>
                <a:cxn ang="0">
                  <a:pos x="12" y="24"/>
                </a:cxn>
                <a:cxn ang="0">
                  <a:pos x="16" y="17"/>
                </a:cxn>
              </a:cxnLst>
              <a:rect l="0" t="0" r="r" b="b"/>
              <a:pathLst>
                <a:path w="17" h="25">
                  <a:moveTo>
                    <a:pt x="16" y="17"/>
                  </a:moveTo>
                  <a:lnTo>
                    <a:pt x="16" y="2"/>
                  </a:lnTo>
                  <a:lnTo>
                    <a:pt x="13" y="5"/>
                  </a:lnTo>
                  <a:lnTo>
                    <a:pt x="6" y="0"/>
                  </a:lnTo>
                  <a:lnTo>
                    <a:pt x="3" y="4"/>
                  </a:lnTo>
                  <a:lnTo>
                    <a:pt x="0" y="14"/>
                  </a:lnTo>
                  <a:lnTo>
                    <a:pt x="1" y="22"/>
                  </a:lnTo>
                  <a:lnTo>
                    <a:pt x="8" y="22"/>
                  </a:lnTo>
                  <a:lnTo>
                    <a:pt x="12" y="24"/>
                  </a:lnTo>
                  <a:lnTo>
                    <a:pt x="16" y="17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9" name="Freeform 147">
              <a:extLst>
                <a:ext uri="{FF2B5EF4-FFF2-40B4-BE49-F238E27FC236}">
                  <a16:creationId xmlns:a16="http://schemas.microsoft.com/office/drawing/2014/main" id="{C7F92791-AF05-9D43-8526-0FB525779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2068" y="2520209"/>
              <a:ext cx="94554" cy="91388"/>
            </a:xfrm>
            <a:custGeom>
              <a:avLst/>
              <a:gdLst/>
              <a:ahLst/>
              <a:cxnLst>
                <a:cxn ang="0">
                  <a:pos x="5" y="12"/>
                </a:cxn>
                <a:cxn ang="0">
                  <a:pos x="9" y="18"/>
                </a:cxn>
                <a:cxn ang="0">
                  <a:pos x="10" y="24"/>
                </a:cxn>
                <a:cxn ang="0">
                  <a:pos x="10" y="29"/>
                </a:cxn>
                <a:cxn ang="0">
                  <a:pos x="9" y="32"/>
                </a:cxn>
                <a:cxn ang="0">
                  <a:pos x="4" y="35"/>
                </a:cxn>
                <a:cxn ang="0">
                  <a:pos x="7" y="37"/>
                </a:cxn>
                <a:cxn ang="0">
                  <a:pos x="0" y="44"/>
                </a:cxn>
                <a:cxn ang="0">
                  <a:pos x="4" y="51"/>
                </a:cxn>
                <a:cxn ang="0">
                  <a:pos x="0" y="59"/>
                </a:cxn>
                <a:cxn ang="0">
                  <a:pos x="10" y="66"/>
                </a:cxn>
                <a:cxn ang="0">
                  <a:pos x="15" y="75"/>
                </a:cxn>
                <a:cxn ang="0">
                  <a:pos x="14" y="88"/>
                </a:cxn>
                <a:cxn ang="0">
                  <a:pos x="34" y="82"/>
                </a:cxn>
                <a:cxn ang="0">
                  <a:pos x="65" y="76"/>
                </a:cxn>
                <a:cxn ang="0">
                  <a:pos x="77" y="78"/>
                </a:cxn>
                <a:cxn ang="0">
                  <a:pos x="80" y="71"/>
                </a:cxn>
                <a:cxn ang="0">
                  <a:pos x="73" y="58"/>
                </a:cxn>
                <a:cxn ang="0">
                  <a:pos x="77" y="49"/>
                </a:cxn>
                <a:cxn ang="0">
                  <a:pos x="84" y="35"/>
                </a:cxn>
                <a:cxn ang="0">
                  <a:pos x="80" y="24"/>
                </a:cxn>
                <a:cxn ang="0">
                  <a:pos x="82" y="17"/>
                </a:cxn>
                <a:cxn ang="0">
                  <a:pos x="73" y="10"/>
                </a:cxn>
                <a:cxn ang="0">
                  <a:pos x="68" y="10"/>
                </a:cxn>
                <a:cxn ang="0">
                  <a:pos x="58" y="15"/>
                </a:cxn>
                <a:cxn ang="0">
                  <a:pos x="53" y="15"/>
                </a:cxn>
                <a:cxn ang="0">
                  <a:pos x="46" y="6"/>
                </a:cxn>
                <a:cxn ang="0">
                  <a:pos x="41" y="5"/>
                </a:cxn>
                <a:cxn ang="0">
                  <a:pos x="34" y="6"/>
                </a:cxn>
                <a:cxn ang="0">
                  <a:pos x="31" y="0"/>
                </a:cxn>
                <a:cxn ang="0">
                  <a:pos x="29" y="3"/>
                </a:cxn>
                <a:cxn ang="0">
                  <a:pos x="26" y="5"/>
                </a:cxn>
                <a:cxn ang="0">
                  <a:pos x="21" y="8"/>
                </a:cxn>
                <a:cxn ang="0">
                  <a:pos x="15" y="6"/>
                </a:cxn>
                <a:cxn ang="0">
                  <a:pos x="7" y="8"/>
                </a:cxn>
              </a:cxnLst>
              <a:rect l="0" t="0" r="r" b="b"/>
              <a:pathLst>
                <a:path w="85" h="89">
                  <a:moveTo>
                    <a:pt x="7" y="8"/>
                  </a:moveTo>
                  <a:lnTo>
                    <a:pt x="5" y="12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22"/>
                  </a:lnTo>
                  <a:lnTo>
                    <a:pt x="10" y="24"/>
                  </a:lnTo>
                  <a:lnTo>
                    <a:pt x="9" y="27"/>
                  </a:lnTo>
                  <a:lnTo>
                    <a:pt x="10" y="29"/>
                  </a:lnTo>
                  <a:lnTo>
                    <a:pt x="12" y="34"/>
                  </a:lnTo>
                  <a:lnTo>
                    <a:pt x="9" y="32"/>
                  </a:lnTo>
                  <a:lnTo>
                    <a:pt x="4" y="32"/>
                  </a:lnTo>
                  <a:lnTo>
                    <a:pt x="4" y="35"/>
                  </a:lnTo>
                  <a:lnTo>
                    <a:pt x="7" y="35"/>
                  </a:lnTo>
                  <a:lnTo>
                    <a:pt x="7" y="37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2" y="47"/>
                  </a:lnTo>
                  <a:lnTo>
                    <a:pt x="4" y="51"/>
                  </a:lnTo>
                  <a:lnTo>
                    <a:pt x="4" y="54"/>
                  </a:lnTo>
                  <a:lnTo>
                    <a:pt x="0" y="59"/>
                  </a:lnTo>
                  <a:lnTo>
                    <a:pt x="9" y="61"/>
                  </a:lnTo>
                  <a:lnTo>
                    <a:pt x="10" y="66"/>
                  </a:lnTo>
                  <a:lnTo>
                    <a:pt x="15" y="68"/>
                  </a:lnTo>
                  <a:lnTo>
                    <a:pt x="15" y="75"/>
                  </a:lnTo>
                  <a:lnTo>
                    <a:pt x="14" y="78"/>
                  </a:lnTo>
                  <a:lnTo>
                    <a:pt x="14" y="88"/>
                  </a:lnTo>
                  <a:lnTo>
                    <a:pt x="19" y="88"/>
                  </a:lnTo>
                  <a:lnTo>
                    <a:pt x="34" y="82"/>
                  </a:lnTo>
                  <a:lnTo>
                    <a:pt x="51" y="78"/>
                  </a:lnTo>
                  <a:lnTo>
                    <a:pt x="65" y="76"/>
                  </a:lnTo>
                  <a:lnTo>
                    <a:pt x="75" y="78"/>
                  </a:lnTo>
                  <a:lnTo>
                    <a:pt x="77" y="78"/>
                  </a:lnTo>
                  <a:lnTo>
                    <a:pt x="80" y="78"/>
                  </a:lnTo>
                  <a:lnTo>
                    <a:pt x="80" y="71"/>
                  </a:lnTo>
                  <a:lnTo>
                    <a:pt x="77" y="70"/>
                  </a:lnTo>
                  <a:lnTo>
                    <a:pt x="73" y="58"/>
                  </a:lnTo>
                  <a:lnTo>
                    <a:pt x="75" y="54"/>
                  </a:lnTo>
                  <a:lnTo>
                    <a:pt x="77" y="49"/>
                  </a:lnTo>
                  <a:lnTo>
                    <a:pt x="80" y="39"/>
                  </a:lnTo>
                  <a:lnTo>
                    <a:pt x="84" y="35"/>
                  </a:lnTo>
                  <a:lnTo>
                    <a:pt x="82" y="24"/>
                  </a:lnTo>
                  <a:lnTo>
                    <a:pt x="80" y="24"/>
                  </a:lnTo>
                  <a:lnTo>
                    <a:pt x="82" y="20"/>
                  </a:lnTo>
                  <a:lnTo>
                    <a:pt x="82" y="17"/>
                  </a:lnTo>
                  <a:lnTo>
                    <a:pt x="79" y="17"/>
                  </a:lnTo>
                  <a:lnTo>
                    <a:pt x="73" y="10"/>
                  </a:lnTo>
                  <a:lnTo>
                    <a:pt x="72" y="12"/>
                  </a:lnTo>
                  <a:lnTo>
                    <a:pt x="68" y="10"/>
                  </a:lnTo>
                  <a:lnTo>
                    <a:pt x="58" y="13"/>
                  </a:lnTo>
                  <a:lnTo>
                    <a:pt x="58" y="15"/>
                  </a:lnTo>
                  <a:lnTo>
                    <a:pt x="55" y="13"/>
                  </a:lnTo>
                  <a:lnTo>
                    <a:pt x="53" y="15"/>
                  </a:lnTo>
                  <a:lnTo>
                    <a:pt x="50" y="12"/>
                  </a:lnTo>
                  <a:lnTo>
                    <a:pt x="46" y="6"/>
                  </a:lnTo>
                  <a:lnTo>
                    <a:pt x="43" y="6"/>
                  </a:lnTo>
                  <a:lnTo>
                    <a:pt x="41" y="5"/>
                  </a:lnTo>
                  <a:lnTo>
                    <a:pt x="38" y="5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9" y="3"/>
                  </a:lnTo>
                  <a:lnTo>
                    <a:pt x="26" y="1"/>
                  </a:lnTo>
                  <a:lnTo>
                    <a:pt x="26" y="5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4" y="3"/>
                  </a:lnTo>
                  <a:lnTo>
                    <a:pt x="7" y="8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0" name="Freeform 148">
              <a:extLst>
                <a:ext uri="{FF2B5EF4-FFF2-40B4-BE49-F238E27FC236}">
                  <a16:creationId xmlns:a16="http://schemas.microsoft.com/office/drawing/2014/main" id="{D20991C8-1141-D84E-88BA-EA9F8D219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4454" y="2497619"/>
              <a:ext cx="46721" cy="88307"/>
            </a:xfrm>
            <a:custGeom>
              <a:avLst/>
              <a:gdLst/>
              <a:ahLst/>
              <a:cxnLst>
                <a:cxn ang="0">
                  <a:pos x="17" y="85"/>
                </a:cxn>
                <a:cxn ang="0">
                  <a:pos x="15" y="85"/>
                </a:cxn>
                <a:cxn ang="0">
                  <a:pos x="14" y="80"/>
                </a:cxn>
                <a:cxn ang="0">
                  <a:pos x="14" y="71"/>
                </a:cxn>
                <a:cxn ang="0">
                  <a:pos x="14" y="51"/>
                </a:cxn>
                <a:cxn ang="0">
                  <a:pos x="9" y="34"/>
                </a:cxn>
                <a:cxn ang="0">
                  <a:pos x="5" y="30"/>
                </a:cxn>
                <a:cxn ang="0">
                  <a:pos x="0" y="28"/>
                </a:cxn>
                <a:cxn ang="0">
                  <a:pos x="2" y="18"/>
                </a:cxn>
                <a:cxn ang="0">
                  <a:pos x="9" y="11"/>
                </a:cxn>
                <a:cxn ang="0">
                  <a:pos x="17" y="11"/>
                </a:cxn>
                <a:cxn ang="0">
                  <a:pos x="22" y="5"/>
                </a:cxn>
                <a:cxn ang="0">
                  <a:pos x="24" y="5"/>
                </a:cxn>
                <a:cxn ang="0">
                  <a:pos x="22" y="1"/>
                </a:cxn>
                <a:cxn ang="0">
                  <a:pos x="29" y="0"/>
                </a:cxn>
                <a:cxn ang="0">
                  <a:pos x="39" y="8"/>
                </a:cxn>
                <a:cxn ang="0">
                  <a:pos x="38" y="13"/>
                </a:cxn>
                <a:cxn ang="0">
                  <a:pos x="41" y="18"/>
                </a:cxn>
                <a:cxn ang="0">
                  <a:pos x="41" y="27"/>
                </a:cxn>
                <a:cxn ang="0">
                  <a:pos x="38" y="28"/>
                </a:cxn>
                <a:cxn ang="0">
                  <a:pos x="39" y="32"/>
                </a:cxn>
                <a:cxn ang="0">
                  <a:pos x="39" y="34"/>
                </a:cxn>
                <a:cxn ang="0">
                  <a:pos x="32" y="39"/>
                </a:cxn>
                <a:cxn ang="0">
                  <a:pos x="32" y="46"/>
                </a:cxn>
                <a:cxn ang="0">
                  <a:pos x="27" y="52"/>
                </a:cxn>
                <a:cxn ang="0">
                  <a:pos x="26" y="73"/>
                </a:cxn>
                <a:cxn ang="0">
                  <a:pos x="27" y="83"/>
                </a:cxn>
                <a:cxn ang="0">
                  <a:pos x="17" y="85"/>
                </a:cxn>
              </a:cxnLst>
              <a:rect l="0" t="0" r="r" b="b"/>
              <a:pathLst>
                <a:path w="42" h="86">
                  <a:moveTo>
                    <a:pt x="17" y="85"/>
                  </a:moveTo>
                  <a:lnTo>
                    <a:pt x="15" y="85"/>
                  </a:lnTo>
                  <a:lnTo>
                    <a:pt x="14" y="80"/>
                  </a:lnTo>
                  <a:lnTo>
                    <a:pt x="14" y="71"/>
                  </a:lnTo>
                  <a:lnTo>
                    <a:pt x="14" y="51"/>
                  </a:lnTo>
                  <a:lnTo>
                    <a:pt x="9" y="34"/>
                  </a:lnTo>
                  <a:lnTo>
                    <a:pt x="5" y="30"/>
                  </a:lnTo>
                  <a:lnTo>
                    <a:pt x="0" y="28"/>
                  </a:lnTo>
                  <a:lnTo>
                    <a:pt x="2" y="18"/>
                  </a:lnTo>
                  <a:lnTo>
                    <a:pt x="9" y="11"/>
                  </a:lnTo>
                  <a:lnTo>
                    <a:pt x="17" y="11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2" y="1"/>
                  </a:lnTo>
                  <a:lnTo>
                    <a:pt x="29" y="0"/>
                  </a:lnTo>
                  <a:lnTo>
                    <a:pt x="39" y="8"/>
                  </a:lnTo>
                  <a:lnTo>
                    <a:pt x="38" y="13"/>
                  </a:lnTo>
                  <a:lnTo>
                    <a:pt x="41" y="18"/>
                  </a:lnTo>
                  <a:lnTo>
                    <a:pt x="41" y="27"/>
                  </a:lnTo>
                  <a:lnTo>
                    <a:pt x="38" y="28"/>
                  </a:lnTo>
                  <a:lnTo>
                    <a:pt x="39" y="32"/>
                  </a:lnTo>
                  <a:lnTo>
                    <a:pt x="39" y="34"/>
                  </a:lnTo>
                  <a:lnTo>
                    <a:pt x="32" y="39"/>
                  </a:lnTo>
                  <a:lnTo>
                    <a:pt x="32" y="46"/>
                  </a:lnTo>
                  <a:lnTo>
                    <a:pt x="27" y="52"/>
                  </a:lnTo>
                  <a:lnTo>
                    <a:pt x="26" y="73"/>
                  </a:lnTo>
                  <a:lnTo>
                    <a:pt x="27" y="83"/>
                  </a:lnTo>
                  <a:lnTo>
                    <a:pt x="17" y="85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1" name="Freeform 149">
              <a:extLst>
                <a:ext uri="{FF2B5EF4-FFF2-40B4-BE49-F238E27FC236}">
                  <a16:creationId xmlns:a16="http://schemas.microsoft.com/office/drawing/2014/main" id="{EDFA52E8-3324-D54E-A7DC-54280235C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6460" y="2551013"/>
              <a:ext cx="63407" cy="60583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4" y="17"/>
                </a:cxn>
                <a:cxn ang="0">
                  <a:pos x="12" y="12"/>
                </a:cxn>
                <a:cxn ang="0">
                  <a:pos x="12" y="7"/>
                </a:cxn>
                <a:cxn ang="0">
                  <a:pos x="17" y="5"/>
                </a:cxn>
                <a:cxn ang="0">
                  <a:pos x="16" y="2"/>
                </a:cxn>
                <a:cxn ang="0">
                  <a:pos x="19" y="0"/>
                </a:cxn>
                <a:cxn ang="0">
                  <a:pos x="21" y="2"/>
                </a:cxn>
                <a:cxn ang="0">
                  <a:pos x="24" y="0"/>
                </a:cxn>
                <a:cxn ang="0">
                  <a:pos x="27" y="4"/>
                </a:cxn>
                <a:cxn ang="0">
                  <a:pos x="29" y="11"/>
                </a:cxn>
                <a:cxn ang="0">
                  <a:pos x="27" y="17"/>
                </a:cxn>
                <a:cxn ang="0">
                  <a:pos x="31" y="17"/>
                </a:cxn>
                <a:cxn ang="0">
                  <a:pos x="34" y="19"/>
                </a:cxn>
                <a:cxn ang="0">
                  <a:pos x="38" y="17"/>
                </a:cxn>
                <a:cxn ang="0">
                  <a:pos x="39" y="12"/>
                </a:cxn>
                <a:cxn ang="0">
                  <a:pos x="41" y="14"/>
                </a:cxn>
                <a:cxn ang="0">
                  <a:pos x="43" y="17"/>
                </a:cxn>
                <a:cxn ang="0">
                  <a:pos x="45" y="21"/>
                </a:cxn>
                <a:cxn ang="0">
                  <a:pos x="45" y="24"/>
                </a:cxn>
                <a:cxn ang="0">
                  <a:pos x="41" y="29"/>
                </a:cxn>
                <a:cxn ang="0">
                  <a:pos x="50" y="31"/>
                </a:cxn>
                <a:cxn ang="0">
                  <a:pos x="51" y="36"/>
                </a:cxn>
                <a:cxn ang="0">
                  <a:pos x="56" y="38"/>
                </a:cxn>
                <a:cxn ang="0">
                  <a:pos x="56" y="45"/>
                </a:cxn>
                <a:cxn ang="0">
                  <a:pos x="55" y="48"/>
                </a:cxn>
                <a:cxn ang="0">
                  <a:pos x="55" y="58"/>
                </a:cxn>
                <a:cxn ang="0">
                  <a:pos x="43" y="55"/>
                </a:cxn>
                <a:cxn ang="0">
                  <a:pos x="31" y="48"/>
                </a:cxn>
                <a:cxn ang="0">
                  <a:pos x="16" y="34"/>
                </a:cxn>
                <a:cxn ang="0">
                  <a:pos x="9" y="31"/>
                </a:cxn>
                <a:cxn ang="0">
                  <a:pos x="0" y="23"/>
                </a:cxn>
              </a:cxnLst>
              <a:rect l="0" t="0" r="r" b="b"/>
              <a:pathLst>
                <a:path w="57" h="59">
                  <a:moveTo>
                    <a:pt x="0" y="23"/>
                  </a:moveTo>
                  <a:lnTo>
                    <a:pt x="4" y="17"/>
                  </a:lnTo>
                  <a:lnTo>
                    <a:pt x="12" y="12"/>
                  </a:lnTo>
                  <a:lnTo>
                    <a:pt x="12" y="7"/>
                  </a:lnTo>
                  <a:lnTo>
                    <a:pt x="17" y="5"/>
                  </a:lnTo>
                  <a:lnTo>
                    <a:pt x="16" y="2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4" y="0"/>
                  </a:lnTo>
                  <a:lnTo>
                    <a:pt x="27" y="4"/>
                  </a:lnTo>
                  <a:lnTo>
                    <a:pt x="29" y="11"/>
                  </a:lnTo>
                  <a:lnTo>
                    <a:pt x="27" y="17"/>
                  </a:lnTo>
                  <a:lnTo>
                    <a:pt x="31" y="17"/>
                  </a:lnTo>
                  <a:lnTo>
                    <a:pt x="34" y="19"/>
                  </a:lnTo>
                  <a:lnTo>
                    <a:pt x="38" y="17"/>
                  </a:lnTo>
                  <a:lnTo>
                    <a:pt x="39" y="12"/>
                  </a:lnTo>
                  <a:lnTo>
                    <a:pt x="41" y="14"/>
                  </a:lnTo>
                  <a:lnTo>
                    <a:pt x="43" y="17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1" y="29"/>
                  </a:lnTo>
                  <a:lnTo>
                    <a:pt x="50" y="31"/>
                  </a:lnTo>
                  <a:lnTo>
                    <a:pt x="51" y="36"/>
                  </a:lnTo>
                  <a:lnTo>
                    <a:pt x="56" y="38"/>
                  </a:lnTo>
                  <a:lnTo>
                    <a:pt x="56" y="45"/>
                  </a:lnTo>
                  <a:lnTo>
                    <a:pt x="55" y="48"/>
                  </a:lnTo>
                  <a:lnTo>
                    <a:pt x="55" y="58"/>
                  </a:lnTo>
                  <a:lnTo>
                    <a:pt x="43" y="55"/>
                  </a:lnTo>
                  <a:lnTo>
                    <a:pt x="31" y="48"/>
                  </a:lnTo>
                  <a:lnTo>
                    <a:pt x="16" y="34"/>
                  </a:lnTo>
                  <a:lnTo>
                    <a:pt x="9" y="31"/>
                  </a:lnTo>
                  <a:lnTo>
                    <a:pt x="0" y="23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2" name="Freeform 150">
              <a:extLst>
                <a:ext uri="{FF2B5EF4-FFF2-40B4-BE49-F238E27FC236}">
                  <a16:creationId xmlns:a16="http://schemas.microsoft.com/office/drawing/2014/main" id="{92177FA7-E55A-C94B-A8A6-FC5CC354C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106" y="2516101"/>
              <a:ext cx="33372" cy="72905"/>
            </a:xfrm>
            <a:custGeom>
              <a:avLst/>
              <a:gdLst/>
              <a:ahLst/>
              <a:cxnLst>
                <a:cxn ang="0">
                  <a:pos x="29" y="67"/>
                </a:cxn>
                <a:cxn ang="0">
                  <a:pos x="19" y="70"/>
                </a:cxn>
                <a:cxn ang="0">
                  <a:pos x="14" y="65"/>
                </a:cxn>
                <a:cxn ang="0">
                  <a:pos x="10" y="58"/>
                </a:cxn>
                <a:cxn ang="0">
                  <a:pos x="9" y="24"/>
                </a:cxn>
                <a:cxn ang="0">
                  <a:pos x="5" y="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5" y="2"/>
                </a:cxn>
                <a:cxn ang="0">
                  <a:pos x="9" y="2"/>
                </a:cxn>
                <a:cxn ang="0">
                  <a:pos x="14" y="0"/>
                </a:cxn>
                <a:cxn ang="0">
                  <a:pos x="12" y="10"/>
                </a:cxn>
                <a:cxn ang="0">
                  <a:pos x="17" y="12"/>
                </a:cxn>
                <a:cxn ang="0">
                  <a:pos x="21" y="16"/>
                </a:cxn>
                <a:cxn ang="0">
                  <a:pos x="26" y="33"/>
                </a:cxn>
                <a:cxn ang="0">
                  <a:pos x="26" y="53"/>
                </a:cxn>
                <a:cxn ang="0">
                  <a:pos x="26" y="62"/>
                </a:cxn>
                <a:cxn ang="0">
                  <a:pos x="27" y="67"/>
                </a:cxn>
                <a:cxn ang="0">
                  <a:pos x="29" y="67"/>
                </a:cxn>
              </a:cxnLst>
              <a:rect l="0" t="0" r="r" b="b"/>
              <a:pathLst>
                <a:path w="30" h="71">
                  <a:moveTo>
                    <a:pt x="29" y="67"/>
                  </a:moveTo>
                  <a:lnTo>
                    <a:pt x="19" y="70"/>
                  </a:lnTo>
                  <a:lnTo>
                    <a:pt x="14" y="65"/>
                  </a:lnTo>
                  <a:lnTo>
                    <a:pt x="10" y="58"/>
                  </a:lnTo>
                  <a:lnTo>
                    <a:pt x="9" y="24"/>
                  </a:lnTo>
                  <a:lnTo>
                    <a:pt x="5" y="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5" y="2"/>
                  </a:lnTo>
                  <a:lnTo>
                    <a:pt x="9" y="2"/>
                  </a:lnTo>
                  <a:lnTo>
                    <a:pt x="14" y="0"/>
                  </a:lnTo>
                  <a:lnTo>
                    <a:pt x="12" y="10"/>
                  </a:lnTo>
                  <a:lnTo>
                    <a:pt x="17" y="12"/>
                  </a:lnTo>
                  <a:lnTo>
                    <a:pt x="21" y="16"/>
                  </a:lnTo>
                  <a:lnTo>
                    <a:pt x="26" y="33"/>
                  </a:lnTo>
                  <a:lnTo>
                    <a:pt x="26" y="53"/>
                  </a:lnTo>
                  <a:lnTo>
                    <a:pt x="26" y="62"/>
                  </a:lnTo>
                  <a:lnTo>
                    <a:pt x="27" y="67"/>
                  </a:lnTo>
                  <a:lnTo>
                    <a:pt x="29" y="67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3" name="Freeform 151">
              <a:extLst>
                <a:ext uri="{FF2B5EF4-FFF2-40B4-BE49-F238E27FC236}">
                  <a16:creationId xmlns:a16="http://schemas.microsoft.com/office/drawing/2014/main" id="{6383AC2F-EBD1-7241-B24F-0EC2F654C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952" y="2491458"/>
              <a:ext cx="114577" cy="80093"/>
            </a:xfrm>
            <a:custGeom>
              <a:avLst/>
              <a:gdLst/>
              <a:ahLst/>
              <a:cxnLst>
                <a:cxn ang="0">
                  <a:pos x="27" y="2"/>
                </a:cxn>
                <a:cxn ang="0">
                  <a:pos x="30" y="2"/>
                </a:cxn>
                <a:cxn ang="0">
                  <a:pos x="53" y="4"/>
                </a:cxn>
                <a:cxn ang="0">
                  <a:pos x="51" y="9"/>
                </a:cxn>
                <a:cxn ang="0">
                  <a:pos x="58" y="7"/>
                </a:cxn>
                <a:cxn ang="0">
                  <a:pos x="66" y="7"/>
                </a:cxn>
                <a:cxn ang="0">
                  <a:pos x="75" y="7"/>
                </a:cxn>
                <a:cxn ang="0">
                  <a:pos x="78" y="4"/>
                </a:cxn>
                <a:cxn ang="0">
                  <a:pos x="83" y="7"/>
                </a:cxn>
                <a:cxn ang="0">
                  <a:pos x="87" y="11"/>
                </a:cxn>
                <a:cxn ang="0">
                  <a:pos x="88" y="14"/>
                </a:cxn>
                <a:cxn ang="0">
                  <a:pos x="92" y="19"/>
                </a:cxn>
                <a:cxn ang="0">
                  <a:pos x="88" y="23"/>
                </a:cxn>
                <a:cxn ang="0">
                  <a:pos x="90" y="24"/>
                </a:cxn>
                <a:cxn ang="0">
                  <a:pos x="94" y="31"/>
                </a:cxn>
                <a:cxn ang="0">
                  <a:pos x="95" y="40"/>
                </a:cxn>
                <a:cxn ang="0">
                  <a:pos x="99" y="46"/>
                </a:cxn>
                <a:cxn ang="0">
                  <a:pos x="100" y="52"/>
                </a:cxn>
                <a:cxn ang="0">
                  <a:pos x="100" y="57"/>
                </a:cxn>
                <a:cxn ang="0">
                  <a:pos x="99" y="60"/>
                </a:cxn>
                <a:cxn ang="0">
                  <a:pos x="94" y="63"/>
                </a:cxn>
                <a:cxn ang="0">
                  <a:pos x="97" y="65"/>
                </a:cxn>
                <a:cxn ang="0">
                  <a:pos x="90" y="72"/>
                </a:cxn>
                <a:cxn ang="0">
                  <a:pos x="87" y="75"/>
                </a:cxn>
                <a:cxn ang="0">
                  <a:pos x="80" y="75"/>
                </a:cxn>
                <a:cxn ang="0">
                  <a:pos x="78" y="69"/>
                </a:cxn>
                <a:cxn ang="0">
                  <a:pos x="73" y="58"/>
                </a:cxn>
                <a:cxn ang="0">
                  <a:pos x="68" y="58"/>
                </a:cxn>
                <a:cxn ang="0">
                  <a:pos x="65" y="58"/>
                </a:cxn>
                <a:cxn ang="0">
                  <a:pos x="61" y="57"/>
                </a:cxn>
                <a:cxn ang="0">
                  <a:pos x="63" y="53"/>
                </a:cxn>
                <a:cxn ang="0">
                  <a:pos x="61" y="48"/>
                </a:cxn>
                <a:cxn ang="0">
                  <a:pos x="58" y="43"/>
                </a:cxn>
                <a:cxn ang="0">
                  <a:pos x="37" y="40"/>
                </a:cxn>
                <a:cxn ang="0">
                  <a:pos x="29" y="52"/>
                </a:cxn>
                <a:cxn ang="0">
                  <a:pos x="18" y="45"/>
                </a:cxn>
                <a:cxn ang="0">
                  <a:pos x="10" y="36"/>
                </a:cxn>
                <a:cxn ang="0">
                  <a:pos x="5" y="29"/>
                </a:cxn>
                <a:cxn ang="0">
                  <a:pos x="1" y="28"/>
                </a:cxn>
                <a:cxn ang="0">
                  <a:pos x="3" y="24"/>
                </a:cxn>
                <a:cxn ang="0">
                  <a:pos x="18" y="14"/>
                </a:cxn>
                <a:cxn ang="0">
                  <a:pos x="17" y="7"/>
                </a:cxn>
                <a:cxn ang="0">
                  <a:pos x="18" y="0"/>
                </a:cxn>
              </a:cxnLst>
              <a:rect l="0" t="0" r="r" b="b"/>
              <a:pathLst>
                <a:path w="103" h="78">
                  <a:moveTo>
                    <a:pt x="18" y="0"/>
                  </a:moveTo>
                  <a:lnTo>
                    <a:pt x="27" y="2"/>
                  </a:lnTo>
                  <a:lnTo>
                    <a:pt x="29" y="4"/>
                  </a:lnTo>
                  <a:lnTo>
                    <a:pt x="30" y="2"/>
                  </a:lnTo>
                  <a:lnTo>
                    <a:pt x="37" y="6"/>
                  </a:lnTo>
                  <a:lnTo>
                    <a:pt x="53" y="4"/>
                  </a:lnTo>
                  <a:lnTo>
                    <a:pt x="49" y="9"/>
                  </a:lnTo>
                  <a:lnTo>
                    <a:pt x="51" y="9"/>
                  </a:lnTo>
                  <a:lnTo>
                    <a:pt x="53" y="11"/>
                  </a:lnTo>
                  <a:lnTo>
                    <a:pt x="58" y="7"/>
                  </a:lnTo>
                  <a:lnTo>
                    <a:pt x="61" y="11"/>
                  </a:lnTo>
                  <a:lnTo>
                    <a:pt x="66" y="7"/>
                  </a:lnTo>
                  <a:lnTo>
                    <a:pt x="73" y="11"/>
                  </a:lnTo>
                  <a:lnTo>
                    <a:pt x="75" y="7"/>
                  </a:lnTo>
                  <a:lnTo>
                    <a:pt x="78" y="6"/>
                  </a:lnTo>
                  <a:lnTo>
                    <a:pt x="78" y="4"/>
                  </a:lnTo>
                  <a:lnTo>
                    <a:pt x="83" y="4"/>
                  </a:lnTo>
                  <a:lnTo>
                    <a:pt x="83" y="7"/>
                  </a:lnTo>
                  <a:lnTo>
                    <a:pt x="85" y="7"/>
                  </a:lnTo>
                  <a:lnTo>
                    <a:pt x="87" y="11"/>
                  </a:lnTo>
                  <a:lnTo>
                    <a:pt x="87" y="16"/>
                  </a:lnTo>
                  <a:lnTo>
                    <a:pt x="88" y="14"/>
                  </a:lnTo>
                  <a:lnTo>
                    <a:pt x="88" y="17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88" y="23"/>
                  </a:lnTo>
                  <a:lnTo>
                    <a:pt x="88" y="26"/>
                  </a:lnTo>
                  <a:lnTo>
                    <a:pt x="90" y="24"/>
                  </a:lnTo>
                  <a:lnTo>
                    <a:pt x="92" y="24"/>
                  </a:lnTo>
                  <a:lnTo>
                    <a:pt x="94" y="31"/>
                  </a:lnTo>
                  <a:lnTo>
                    <a:pt x="97" y="36"/>
                  </a:lnTo>
                  <a:lnTo>
                    <a:pt x="95" y="40"/>
                  </a:lnTo>
                  <a:lnTo>
                    <a:pt x="95" y="46"/>
                  </a:lnTo>
                  <a:lnTo>
                    <a:pt x="99" y="46"/>
                  </a:lnTo>
                  <a:lnTo>
                    <a:pt x="99" y="50"/>
                  </a:lnTo>
                  <a:lnTo>
                    <a:pt x="100" y="52"/>
                  </a:lnTo>
                  <a:lnTo>
                    <a:pt x="99" y="55"/>
                  </a:lnTo>
                  <a:lnTo>
                    <a:pt x="100" y="57"/>
                  </a:lnTo>
                  <a:lnTo>
                    <a:pt x="102" y="62"/>
                  </a:lnTo>
                  <a:lnTo>
                    <a:pt x="99" y="60"/>
                  </a:lnTo>
                  <a:lnTo>
                    <a:pt x="94" y="60"/>
                  </a:lnTo>
                  <a:lnTo>
                    <a:pt x="94" y="63"/>
                  </a:lnTo>
                  <a:lnTo>
                    <a:pt x="97" y="63"/>
                  </a:lnTo>
                  <a:lnTo>
                    <a:pt x="97" y="65"/>
                  </a:lnTo>
                  <a:lnTo>
                    <a:pt x="95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7" y="75"/>
                  </a:lnTo>
                  <a:lnTo>
                    <a:pt x="83" y="77"/>
                  </a:lnTo>
                  <a:lnTo>
                    <a:pt x="80" y="75"/>
                  </a:lnTo>
                  <a:lnTo>
                    <a:pt x="76" y="75"/>
                  </a:lnTo>
                  <a:lnTo>
                    <a:pt x="78" y="69"/>
                  </a:lnTo>
                  <a:lnTo>
                    <a:pt x="76" y="62"/>
                  </a:lnTo>
                  <a:lnTo>
                    <a:pt x="73" y="58"/>
                  </a:lnTo>
                  <a:lnTo>
                    <a:pt x="70" y="60"/>
                  </a:lnTo>
                  <a:lnTo>
                    <a:pt x="68" y="58"/>
                  </a:lnTo>
                  <a:lnTo>
                    <a:pt x="65" y="60"/>
                  </a:lnTo>
                  <a:lnTo>
                    <a:pt x="65" y="58"/>
                  </a:lnTo>
                  <a:lnTo>
                    <a:pt x="61" y="62"/>
                  </a:lnTo>
                  <a:lnTo>
                    <a:pt x="61" y="57"/>
                  </a:lnTo>
                  <a:lnTo>
                    <a:pt x="63" y="57"/>
                  </a:lnTo>
                  <a:lnTo>
                    <a:pt x="63" y="53"/>
                  </a:lnTo>
                  <a:lnTo>
                    <a:pt x="61" y="52"/>
                  </a:lnTo>
                  <a:lnTo>
                    <a:pt x="61" y="48"/>
                  </a:lnTo>
                  <a:lnTo>
                    <a:pt x="58" y="46"/>
                  </a:lnTo>
                  <a:lnTo>
                    <a:pt x="58" y="43"/>
                  </a:lnTo>
                  <a:lnTo>
                    <a:pt x="53" y="38"/>
                  </a:lnTo>
                  <a:lnTo>
                    <a:pt x="37" y="40"/>
                  </a:lnTo>
                  <a:lnTo>
                    <a:pt x="36" y="45"/>
                  </a:lnTo>
                  <a:lnTo>
                    <a:pt x="29" y="52"/>
                  </a:lnTo>
                  <a:lnTo>
                    <a:pt x="25" y="52"/>
                  </a:lnTo>
                  <a:lnTo>
                    <a:pt x="18" y="45"/>
                  </a:lnTo>
                  <a:lnTo>
                    <a:pt x="17" y="40"/>
                  </a:lnTo>
                  <a:lnTo>
                    <a:pt x="10" y="36"/>
                  </a:lnTo>
                  <a:lnTo>
                    <a:pt x="8" y="29"/>
                  </a:lnTo>
                  <a:lnTo>
                    <a:pt x="5" y="29"/>
                  </a:lnTo>
                  <a:lnTo>
                    <a:pt x="5" y="26"/>
                  </a:lnTo>
                  <a:lnTo>
                    <a:pt x="1" y="28"/>
                  </a:lnTo>
                  <a:lnTo>
                    <a:pt x="0" y="26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8" y="14"/>
                  </a:lnTo>
                  <a:lnTo>
                    <a:pt x="18" y="11"/>
                  </a:lnTo>
                  <a:lnTo>
                    <a:pt x="17" y="7"/>
                  </a:lnTo>
                  <a:lnTo>
                    <a:pt x="20" y="6"/>
                  </a:lnTo>
                  <a:lnTo>
                    <a:pt x="18" y="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4" name="Freeform 152">
              <a:extLst>
                <a:ext uri="{FF2B5EF4-FFF2-40B4-BE49-F238E27FC236}">
                  <a16:creationId xmlns:a16="http://schemas.microsoft.com/office/drawing/2014/main" id="{77F920F8-E15A-0147-805F-274AC407DE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273" y="2516101"/>
              <a:ext cx="70081" cy="92415"/>
            </a:xfrm>
            <a:custGeom>
              <a:avLst/>
              <a:gdLst/>
              <a:ahLst/>
              <a:cxnLst>
                <a:cxn ang="0">
                  <a:pos x="62" y="70"/>
                </a:cxn>
                <a:cxn ang="0">
                  <a:pos x="57" y="65"/>
                </a:cxn>
                <a:cxn ang="0">
                  <a:pos x="53" y="58"/>
                </a:cxn>
                <a:cxn ang="0">
                  <a:pos x="52" y="24"/>
                </a:cxn>
                <a:cxn ang="0">
                  <a:pos x="48" y="12"/>
                </a:cxn>
                <a:cxn ang="0">
                  <a:pos x="43" y="5"/>
                </a:cxn>
                <a:cxn ang="0">
                  <a:pos x="45" y="2"/>
                </a:cxn>
                <a:cxn ang="0">
                  <a:pos x="43" y="2"/>
                </a:cxn>
                <a:cxn ang="0">
                  <a:pos x="43" y="0"/>
                </a:cxn>
                <a:cxn ang="0">
                  <a:pos x="33" y="2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7" y="10"/>
                </a:cxn>
                <a:cxn ang="0">
                  <a:pos x="9" y="21"/>
                </a:cxn>
                <a:cxn ang="0">
                  <a:pos x="9" y="24"/>
                </a:cxn>
                <a:cxn ang="0">
                  <a:pos x="7" y="28"/>
                </a:cxn>
                <a:cxn ang="0">
                  <a:pos x="9" y="28"/>
                </a:cxn>
                <a:cxn ang="0">
                  <a:pos x="11" y="39"/>
                </a:cxn>
                <a:cxn ang="0">
                  <a:pos x="7" y="43"/>
                </a:cxn>
                <a:cxn ang="0">
                  <a:pos x="4" y="53"/>
                </a:cxn>
                <a:cxn ang="0">
                  <a:pos x="2" y="58"/>
                </a:cxn>
                <a:cxn ang="0">
                  <a:pos x="0" y="62"/>
                </a:cxn>
                <a:cxn ang="0">
                  <a:pos x="4" y="74"/>
                </a:cxn>
                <a:cxn ang="0">
                  <a:pos x="7" y="75"/>
                </a:cxn>
                <a:cxn ang="0">
                  <a:pos x="7" y="82"/>
                </a:cxn>
                <a:cxn ang="0">
                  <a:pos x="4" y="82"/>
                </a:cxn>
                <a:cxn ang="0">
                  <a:pos x="2" y="82"/>
                </a:cxn>
                <a:cxn ang="0">
                  <a:pos x="18" y="89"/>
                </a:cxn>
                <a:cxn ang="0">
                  <a:pos x="24" y="84"/>
                </a:cxn>
                <a:cxn ang="0">
                  <a:pos x="35" y="80"/>
                </a:cxn>
                <a:cxn ang="0">
                  <a:pos x="47" y="75"/>
                </a:cxn>
                <a:cxn ang="0">
                  <a:pos x="48" y="74"/>
                </a:cxn>
                <a:cxn ang="0">
                  <a:pos x="58" y="74"/>
                </a:cxn>
                <a:cxn ang="0">
                  <a:pos x="62" y="70"/>
                </a:cxn>
              </a:cxnLst>
              <a:rect l="0" t="0" r="r" b="b"/>
              <a:pathLst>
                <a:path w="63" h="90">
                  <a:moveTo>
                    <a:pt x="62" y="70"/>
                  </a:moveTo>
                  <a:lnTo>
                    <a:pt x="57" y="65"/>
                  </a:lnTo>
                  <a:lnTo>
                    <a:pt x="53" y="58"/>
                  </a:lnTo>
                  <a:lnTo>
                    <a:pt x="52" y="24"/>
                  </a:lnTo>
                  <a:lnTo>
                    <a:pt x="48" y="12"/>
                  </a:lnTo>
                  <a:lnTo>
                    <a:pt x="43" y="5"/>
                  </a:lnTo>
                  <a:lnTo>
                    <a:pt x="45" y="2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33" y="2"/>
                  </a:lnTo>
                  <a:lnTo>
                    <a:pt x="6" y="0"/>
                  </a:lnTo>
                  <a:lnTo>
                    <a:pt x="4" y="5"/>
                  </a:lnTo>
                  <a:lnTo>
                    <a:pt x="7" y="10"/>
                  </a:lnTo>
                  <a:lnTo>
                    <a:pt x="9" y="21"/>
                  </a:lnTo>
                  <a:lnTo>
                    <a:pt x="9" y="24"/>
                  </a:lnTo>
                  <a:lnTo>
                    <a:pt x="7" y="28"/>
                  </a:lnTo>
                  <a:lnTo>
                    <a:pt x="9" y="28"/>
                  </a:lnTo>
                  <a:lnTo>
                    <a:pt x="11" y="39"/>
                  </a:lnTo>
                  <a:lnTo>
                    <a:pt x="7" y="43"/>
                  </a:lnTo>
                  <a:lnTo>
                    <a:pt x="4" y="53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4" y="74"/>
                  </a:lnTo>
                  <a:lnTo>
                    <a:pt x="7" y="75"/>
                  </a:lnTo>
                  <a:lnTo>
                    <a:pt x="7" y="82"/>
                  </a:lnTo>
                  <a:lnTo>
                    <a:pt x="4" y="82"/>
                  </a:lnTo>
                  <a:lnTo>
                    <a:pt x="2" y="82"/>
                  </a:lnTo>
                  <a:lnTo>
                    <a:pt x="18" y="89"/>
                  </a:lnTo>
                  <a:lnTo>
                    <a:pt x="24" y="84"/>
                  </a:lnTo>
                  <a:lnTo>
                    <a:pt x="35" y="80"/>
                  </a:lnTo>
                  <a:lnTo>
                    <a:pt x="47" y="75"/>
                  </a:lnTo>
                  <a:lnTo>
                    <a:pt x="48" y="74"/>
                  </a:lnTo>
                  <a:lnTo>
                    <a:pt x="58" y="74"/>
                  </a:lnTo>
                  <a:lnTo>
                    <a:pt x="62" y="7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5" name="Freeform 153">
              <a:extLst>
                <a:ext uri="{FF2B5EF4-FFF2-40B4-BE49-F238E27FC236}">
                  <a16:creationId xmlns:a16="http://schemas.microsoft.com/office/drawing/2014/main" id="{1BF344AF-DECF-B347-A054-34D8271F7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5255" y="2476055"/>
              <a:ext cx="47833" cy="17456"/>
            </a:xfrm>
            <a:custGeom>
              <a:avLst/>
              <a:gdLst/>
              <a:ahLst/>
              <a:cxnLst>
                <a:cxn ang="0">
                  <a:pos x="3" y="4"/>
                </a:cxn>
                <a:cxn ang="0">
                  <a:pos x="17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34" y="8"/>
                </a:cxn>
                <a:cxn ang="0">
                  <a:pos x="41" y="4"/>
                </a:cxn>
                <a:cxn ang="0">
                  <a:pos x="42" y="8"/>
                </a:cxn>
                <a:cxn ang="0">
                  <a:pos x="37" y="14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15" y="11"/>
                </a:cxn>
                <a:cxn ang="0">
                  <a:pos x="13" y="14"/>
                </a:cxn>
                <a:cxn ang="0">
                  <a:pos x="2" y="14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8"/>
                </a:cxn>
                <a:cxn ang="0">
                  <a:pos x="3" y="4"/>
                </a:cxn>
              </a:cxnLst>
              <a:rect l="0" t="0" r="r" b="b"/>
              <a:pathLst>
                <a:path w="43" h="17">
                  <a:moveTo>
                    <a:pt x="3" y="4"/>
                  </a:moveTo>
                  <a:lnTo>
                    <a:pt x="17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34" y="8"/>
                  </a:lnTo>
                  <a:lnTo>
                    <a:pt x="41" y="4"/>
                  </a:lnTo>
                  <a:lnTo>
                    <a:pt x="42" y="8"/>
                  </a:lnTo>
                  <a:lnTo>
                    <a:pt x="37" y="14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15" y="11"/>
                  </a:lnTo>
                  <a:lnTo>
                    <a:pt x="13" y="14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3" y="8"/>
                  </a:lnTo>
                  <a:lnTo>
                    <a:pt x="3" y="4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6" name="Freeform 154">
              <a:extLst>
                <a:ext uri="{FF2B5EF4-FFF2-40B4-BE49-F238E27FC236}">
                  <a16:creationId xmlns:a16="http://schemas.microsoft.com/office/drawing/2014/main" id="{AFCE31C6-398E-464F-B02D-DD444E5BE0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7480" y="2491458"/>
              <a:ext cx="47833" cy="27724"/>
            </a:xfrm>
            <a:custGeom>
              <a:avLst/>
              <a:gdLst/>
              <a:ahLst/>
              <a:cxnLst>
                <a:cxn ang="0">
                  <a:pos x="22" y="26"/>
                </a:cxn>
                <a:cxn ang="0">
                  <a:pos x="25" y="24"/>
                </a:cxn>
                <a:cxn ang="0">
                  <a:pos x="29" y="17"/>
                </a:cxn>
                <a:cxn ang="0">
                  <a:pos x="40" y="14"/>
                </a:cxn>
                <a:cxn ang="0">
                  <a:pos x="40" y="11"/>
                </a:cxn>
                <a:cxn ang="0">
                  <a:pos x="39" y="7"/>
                </a:cxn>
                <a:cxn ang="0">
                  <a:pos x="42" y="6"/>
                </a:cxn>
                <a:cxn ang="0">
                  <a:pos x="40" y="0"/>
                </a:cxn>
                <a:cxn ang="0">
                  <a:pos x="22" y="0"/>
                </a:cxn>
                <a:cxn ang="0">
                  <a:pos x="13" y="4"/>
                </a:cxn>
                <a:cxn ang="0">
                  <a:pos x="6" y="4"/>
                </a:cxn>
                <a:cxn ang="0">
                  <a:pos x="3" y="6"/>
                </a:cxn>
                <a:cxn ang="0">
                  <a:pos x="0" y="4"/>
                </a:cxn>
                <a:cxn ang="0">
                  <a:pos x="0" y="7"/>
                </a:cxn>
                <a:cxn ang="0">
                  <a:pos x="5" y="9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1" y="14"/>
                </a:cxn>
                <a:cxn ang="0">
                  <a:pos x="25" y="12"/>
                </a:cxn>
                <a:cxn ang="0">
                  <a:pos x="17" y="16"/>
                </a:cxn>
                <a:cxn ang="0">
                  <a:pos x="18" y="23"/>
                </a:cxn>
                <a:cxn ang="0">
                  <a:pos x="18" y="24"/>
                </a:cxn>
                <a:cxn ang="0">
                  <a:pos x="22" y="24"/>
                </a:cxn>
                <a:cxn ang="0">
                  <a:pos x="22" y="26"/>
                </a:cxn>
              </a:cxnLst>
              <a:rect l="0" t="0" r="r" b="b"/>
              <a:pathLst>
                <a:path w="43" h="27">
                  <a:moveTo>
                    <a:pt x="22" y="26"/>
                  </a:moveTo>
                  <a:lnTo>
                    <a:pt x="25" y="24"/>
                  </a:lnTo>
                  <a:lnTo>
                    <a:pt x="29" y="17"/>
                  </a:lnTo>
                  <a:lnTo>
                    <a:pt x="40" y="14"/>
                  </a:lnTo>
                  <a:lnTo>
                    <a:pt x="40" y="11"/>
                  </a:lnTo>
                  <a:lnTo>
                    <a:pt x="39" y="7"/>
                  </a:lnTo>
                  <a:lnTo>
                    <a:pt x="42" y="6"/>
                  </a:lnTo>
                  <a:lnTo>
                    <a:pt x="40" y="0"/>
                  </a:lnTo>
                  <a:lnTo>
                    <a:pt x="22" y="0"/>
                  </a:lnTo>
                  <a:lnTo>
                    <a:pt x="13" y="4"/>
                  </a:lnTo>
                  <a:lnTo>
                    <a:pt x="6" y="4"/>
                  </a:lnTo>
                  <a:lnTo>
                    <a:pt x="3" y="6"/>
                  </a:lnTo>
                  <a:lnTo>
                    <a:pt x="0" y="4"/>
                  </a:lnTo>
                  <a:lnTo>
                    <a:pt x="0" y="7"/>
                  </a:lnTo>
                  <a:lnTo>
                    <a:pt x="5" y="9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1" y="14"/>
                  </a:lnTo>
                  <a:lnTo>
                    <a:pt x="25" y="12"/>
                  </a:lnTo>
                  <a:lnTo>
                    <a:pt x="17" y="16"/>
                  </a:lnTo>
                  <a:lnTo>
                    <a:pt x="18" y="23"/>
                  </a:lnTo>
                  <a:lnTo>
                    <a:pt x="18" y="24"/>
                  </a:lnTo>
                  <a:lnTo>
                    <a:pt x="22" y="24"/>
                  </a:lnTo>
                  <a:lnTo>
                    <a:pt x="22" y="26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7" name="Freeform 155">
              <a:extLst>
                <a:ext uri="{FF2B5EF4-FFF2-40B4-BE49-F238E27FC236}">
                  <a16:creationId xmlns:a16="http://schemas.microsoft.com/office/drawing/2014/main" id="{FD230F38-6353-B246-8A3B-A3DB74481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9763" y="2530477"/>
              <a:ext cx="46721" cy="45180"/>
            </a:xfrm>
            <a:custGeom>
              <a:avLst/>
              <a:gdLst/>
              <a:ahLst/>
              <a:cxnLst>
                <a:cxn ang="0">
                  <a:pos x="24" y="43"/>
                </a:cxn>
                <a:cxn ang="0">
                  <a:pos x="28" y="37"/>
                </a:cxn>
                <a:cxn ang="0">
                  <a:pos x="36" y="32"/>
                </a:cxn>
                <a:cxn ang="0">
                  <a:pos x="36" y="27"/>
                </a:cxn>
                <a:cxn ang="0">
                  <a:pos x="41" y="25"/>
                </a:cxn>
                <a:cxn ang="0">
                  <a:pos x="40" y="22"/>
                </a:cxn>
                <a:cxn ang="0">
                  <a:pos x="40" y="20"/>
                </a:cxn>
                <a:cxn ang="0">
                  <a:pos x="36" y="24"/>
                </a:cxn>
                <a:cxn ang="0">
                  <a:pos x="36" y="19"/>
                </a:cxn>
                <a:cxn ang="0">
                  <a:pos x="38" y="19"/>
                </a:cxn>
                <a:cxn ang="0">
                  <a:pos x="38" y="15"/>
                </a:cxn>
                <a:cxn ang="0">
                  <a:pos x="36" y="14"/>
                </a:cxn>
                <a:cxn ang="0">
                  <a:pos x="36" y="10"/>
                </a:cxn>
                <a:cxn ang="0">
                  <a:pos x="33" y="8"/>
                </a:cxn>
                <a:cxn ang="0">
                  <a:pos x="33" y="5"/>
                </a:cxn>
                <a:cxn ang="0">
                  <a:pos x="28" y="0"/>
                </a:cxn>
                <a:cxn ang="0">
                  <a:pos x="12" y="2"/>
                </a:cxn>
                <a:cxn ang="0">
                  <a:pos x="11" y="7"/>
                </a:cxn>
                <a:cxn ang="0">
                  <a:pos x="4" y="14"/>
                </a:cxn>
                <a:cxn ang="0">
                  <a:pos x="0" y="14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0" y="22"/>
                </a:cxn>
                <a:cxn ang="0">
                  <a:pos x="0" y="24"/>
                </a:cxn>
                <a:cxn ang="0">
                  <a:pos x="4" y="27"/>
                </a:cxn>
                <a:cxn ang="0">
                  <a:pos x="5" y="31"/>
                </a:cxn>
                <a:cxn ang="0">
                  <a:pos x="11" y="34"/>
                </a:cxn>
                <a:cxn ang="0">
                  <a:pos x="12" y="37"/>
                </a:cxn>
                <a:cxn ang="0">
                  <a:pos x="24" y="43"/>
                </a:cxn>
              </a:cxnLst>
              <a:rect l="0" t="0" r="r" b="b"/>
              <a:pathLst>
                <a:path w="42" h="44">
                  <a:moveTo>
                    <a:pt x="24" y="43"/>
                  </a:moveTo>
                  <a:lnTo>
                    <a:pt x="28" y="37"/>
                  </a:lnTo>
                  <a:lnTo>
                    <a:pt x="36" y="32"/>
                  </a:lnTo>
                  <a:lnTo>
                    <a:pt x="36" y="27"/>
                  </a:lnTo>
                  <a:lnTo>
                    <a:pt x="41" y="25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19"/>
                  </a:lnTo>
                  <a:lnTo>
                    <a:pt x="38" y="19"/>
                  </a:lnTo>
                  <a:lnTo>
                    <a:pt x="38" y="15"/>
                  </a:lnTo>
                  <a:lnTo>
                    <a:pt x="36" y="14"/>
                  </a:lnTo>
                  <a:lnTo>
                    <a:pt x="36" y="10"/>
                  </a:lnTo>
                  <a:lnTo>
                    <a:pt x="33" y="8"/>
                  </a:lnTo>
                  <a:lnTo>
                    <a:pt x="33" y="5"/>
                  </a:lnTo>
                  <a:lnTo>
                    <a:pt x="28" y="0"/>
                  </a:lnTo>
                  <a:lnTo>
                    <a:pt x="12" y="2"/>
                  </a:lnTo>
                  <a:lnTo>
                    <a:pt x="11" y="7"/>
                  </a:lnTo>
                  <a:lnTo>
                    <a:pt x="4" y="14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4" y="27"/>
                  </a:lnTo>
                  <a:lnTo>
                    <a:pt x="5" y="31"/>
                  </a:lnTo>
                  <a:lnTo>
                    <a:pt x="11" y="34"/>
                  </a:lnTo>
                  <a:lnTo>
                    <a:pt x="12" y="37"/>
                  </a:lnTo>
                  <a:lnTo>
                    <a:pt x="24" y="43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8" name="Freeform 156">
              <a:extLst>
                <a:ext uri="{FF2B5EF4-FFF2-40B4-BE49-F238E27FC236}">
                  <a16:creationId xmlns:a16="http://schemas.microsoft.com/office/drawing/2014/main" id="{52201E11-0039-1441-A9BA-51D0D9207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4131" y="2433955"/>
              <a:ext cx="97891" cy="64690"/>
            </a:xfrm>
            <a:custGeom>
              <a:avLst/>
              <a:gdLst/>
              <a:ahLst/>
              <a:cxnLst>
                <a:cxn ang="0">
                  <a:pos x="12" y="60"/>
                </a:cxn>
                <a:cxn ang="0">
                  <a:pos x="10" y="51"/>
                </a:cxn>
                <a:cxn ang="0">
                  <a:pos x="12" y="50"/>
                </a:cxn>
                <a:cxn ang="0">
                  <a:pos x="23" y="50"/>
                </a:cxn>
                <a:cxn ang="0">
                  <a:pos x="25" y="48"/>
                </a:cxn>
                <a:cxn ang="0">
                  <a:pos x="30" y="46"/>
                </a:cxn>
                <a:cxn ang="0">
                  <a:pos x="34" y="44"/>
                </a:cxn>
                <a:cxn ang="0">
                  <a:pos x="47" y="50"/>
                </a:cxn>
                <a:cxn ang="0">
                  <a:pos x="52" y="46"/>
                </a:cxn>
                <a:cxn ang="0">
                  <a:pos x="51" y="44"/>
                </a:cxn>
                <a:cxn ang="0">
                  <a:pos x="44" y="46"/>
                </a:cxn>
                <a:cxn ang="0">
                  <a:pos x="34" y="41"/>
                </a:cxn>
                <a:cxn ang="0">
                  <a:pos x="30" y="41"/>
                </a:cxn>
                <a:cxn ang="0">
                  <a:pos x="27" y="44"/>
                </a:cxn>
                <a:cxn ang="0">
                  <a:pos x="13" y="44"/>
                </a:cxn>
                <a:cxn ang="0">
                  <a:pos x="3" y="27"/>
                </a:cxn>
                <a:cxn ang="0">
                  <a:pos x="1" y="29"/>
                </a:cxn>
                <a:cxn ang="0">
                  <a:pos x="0" y="27"/>
                </a:cxn>
                <a:cxn ang="0">
                  <a:pos x="5" y="26"/>
                </a:cxn>
                <a:cxn ang="0">
                  <a:pos x="8" y="22"/>
                </a:cxn>
                <a:cxn ang="0">
                  <a:pos x="13" y="14"/>
                </a:cxn>
                <a:cxn ang="0">
                  <a:pos x="13" y="9"/>
                </a:cxn>
                <a:cxn ang="0">
                  <a:pos x="17" y="2"/>
                </a:cxn>
                <a:cxn ang="0">
                  <a:pos x="25" y="4"/>
                </a:cxn>
                <a:cxn ang="0">
                  <a:pos x="34" y="0"/>
                </a:cxn>
                <a:cxn ang="0">
                  <a:pos x="44" y="0"/>
                </a:cxn>
                <a:cxn ang="0">
                  <a:pos x="51" y="7"/>
                </a:cxn>
                <a:cxn ang="0">
                  <a:pos x="56" y="7"/>
                </a:cxn>
                <a:cxn ang="0">
                  <a:pos x="59" y="15"/>
                </a:cxn>
                <a:cxn ang="0">
                  <a:pos x="63" y="17"/>
                </a:cxn>
                <a:cxn ang="0">
                  <a:pos x="66" y="19"/>
                </a:cxn>
                <a:cxn ang="0">
                  <a:pos x="64" y="21"/>
                </a:cxn>
                <a:cxn ang="0">
                  <a:pos x="75" y="27"/>
                </a:cxn>
                <a:cxn ang="0">
                  <a:pos x="75" y="33"/>
                </a:cxn>
                <a:cxn ang="0">
                  <a:pos x="76" y="34"/>
                </a:cxn>
                <a:cxn ang="0">
                  <a:pos x="78" y="39"/>
                </a:cxn>
                <a:cxn ang="0">
                  <a:pos x="76" y="43"/>
                </a:cxn>
                <a:cxn ang="0">
                  <a:pos x="78" y="46"/>
                </a:cxn>
                <a:cxn ang="0">
                  <a:pos x="83" y="46"/>
                </a:cxn>
                <a:cxn ang="0">
                  <a:pos x="87" y="53"/>
                </a:cxn>
                <a:cxn ang="0">
                  <a:pos x="87" y="60"/>
                </a:cxn>
                <a:cxn ang="0">
                  <a:pos x="71" y="62"/>
                </a:cxn>
                <a:cxn ang="0">
                  <a:pos x="64" y="58"/>
                </a:cxn>
                <a:cxn ang="0">
                  <a:pos x="63" y="60"/>
                </a:cxn>
                <a:cxn ang="0">
                  <a:pos x="61" y="58"/>
                </a:cxn>
                <a:cxn ang="0">
                  <a:pos x="52" y="56"/>
                </a:cxn>
                <a:cxn ang="0">
                  <a:pos x="34" y="56"/>
                </a:cxn>
                <a:cxn ang="0">
                  <a:pos x="25" y="60"/>
                </a:cxn>
                <a:cxn ang="0">
                  <a:pos x="18" y="60"/>
                </a:cxn>
                <a:cxn ang="0">
                  <a:pos x="15" y="62"/>
                </a:cxn>
                <a:cxn ang="0">
                  <a:pos x="12" y="60"/>
                </a:cxn>
              </a:cxnLst>
              <a:rect l="0" t="0" r="r" b="b"/>
              <a:pathLst>
                <a:path w="88" h="63">
                  <a:moveTo>
                    <a:pt x="12" y="60"/>
                  </a:moveTo>
                  <a:lnTo>
                    <a:pt x="10" y="51"/>
                  </a:lnTo>
                  <a:lnTo>
                    <a:pt x="12" y="50"/>
                  </a:lnTo>
                  <a:lnTo>
                    <a:pt x="23" y="50"/>
                  </a:lnTo>
                  <a:lnTo>
                    <a:pt x="25" y="48"/>
                  </a:lnTo>
                  <a:lnTo>
                    <a:pt x="30" y="46"/>
                  </a:lnTo>
                  <a:lnTo>
                    <a:pt x="34" y="44"/>
                  </a:lnTo>
                  <a:lnTo>
                    <a:pt x="47" y="50"/>
                  </a:lnTo>
                  <a:lnTo>
                    <a:pt x="52" y="46"/>
                  </a:lnTo>
                  <a:lnTo>
                    <a:pt x="51" y="44"/>
                  </a:lnTo>
                  <a:lnTo>
                    <a:pt x="44" y="46"/>
                  </a:lnTo>
                  <a:lnTo>
                    <a:pt x="34" y="41"/>
                  </a:lnTo>
                  <a:lnTo>
                    <a:pt x="30" y="41"/>
                  </a:lnTo>
                  <a:lnTo>
                    <a:pt x="27" y="44"/>
                  </a:lnTo>
                  <a:lnTo>
                    <a:pt x="13" y="44"/>
                  </a:lnTo>
                  <a:lnTo>
                    <a:pt x="3" y="27"/>
                  </a:lnTo>
                  <a:lnTo>
                    <a:pt x="1" y="29"/>
                  </a:lnTo>
                  <a:lnTo>
                    <a:pt x="0" y="27"/>
                  </a:lnTo>
                  <a:lnTo>
                    <a:pt x="5" y="26"/>
                  </a:lnTo>
                  <a:lnTo>
                    <a:pt x="8" y="22"/>
                  </a:lnTo>
                  <a:lnTo>
                    <a:pt x="13" y="14"/>
                  </a:lnTo>
                  <a:lnTo>
                    <a:pt x="13" y="9"/>
                  </a:lnTo>
                  <a:lnTo>
                    <a:pt x="17" y="2"/>
                  </a:lnTo>
                  <a:lnTo>
                    <a:pt x="25" y="4"/>
                  </a:lnTo>
                  <a:lnTo>
                    <a:pt x="34" y="0"/>
                  </a:lnTo>
                  <a:lnTo>
                    <a:pt x="44" y="0"/>
                  </a:lnTo>
                  <a:lnTo>
                    <a:pt x="51" y="7"/>
                  </a:lnTo>
                  <a:lnTo>
                    <a:pt x="56" y="7"/>
                  </a:lnTo>
                  <a:lnTo>
                    <a:pt x="59" y="15"/>
                  </a:lnTo>
                  <a:lnTo>
                    <a:pt x="63" y="17"/>
                  </a:lnTo>
                  <a:lnTo>
                    <a:pt x="66" y="19"/>
                  </a:lnTo>
                  <a:lnTo>
                    <a:pt x="64" y="21"/>
                  </a:lnTo>
                  <a:lnTo>
                    <a:pt x="75" y="27"/>
                  </a:lnTo>
                  <a:lnTo>
                    <a:pt x="75" y="33"/>
                  </a:lnTo>
                  <a:lnTo>
                    <a:pt x="76" y="34"/>
                  </a:lnTo>
                  <a:lnTo>
                    <a:pt x="78" y="39"/>
                  </a:lnTo>
                  <a:lnTo>
                    <a:pt x="76" y="43"/>
                  </a:lnTo>
                  <a:lnTo>
                    <a:pt x="78" y="46"/>
                  </a:lnTo>
                  <a:lnTo>
                    <a:pt x="83" y="46"/>
                  </a:lnTo>
                  <a:lnTo>
                    <a:pt x="87" y="53"/>
                  </a:lnTo>
                  <a:lnTo>
                    <a:pt x="87" y="60"/>
                  </a:lnTo>
                  <a:lnTo>
                    <a:pt x="71" y="62"/>
                  </a:lnTo>
                  <a:lnTo>
                    <a:pt x="64" y="58"/>
                  </a:lnTo>
                  <a:lnTo>
                    <a:pt x="63" y="60"/>
                  </a:lnTo>
                  <a:lnTo>
                    <a:pt x="61" y="58"/>
                  </a:lnTo>
                  <a:lnTo>
                    <a:pt x="52" y="56"/>
                  </a:lnTo>
                  <a:lnTo>
                    <a:pt x="34" y="56"/>
                  </a:lnTo>
                  <a:lnTo>
                    <a:pt x="25" y="60"/>
                  </a:lnTo>
                  <a:lnTo>
                    <a:pt x="18" y="60"/>
                  </a:lnTo>
                  <a:lnTo>
                    <a:pt x="15" y="62"/>
                  </a:lnTo>
                  <a:lnTo>
                    <a:pt x="12" y="6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9" name="Freeform 177">
              <a:extLst>
                <a:ext uri="{FF2B5EF4-FFF2-40B4-BE49-F238E27FC236}">
                  <a16:creationId xmlns:a16="http://schemas.microsoft.com/office/drawing/2014/main" id="{ABCFA124-0E76-734D-BE06-A727F2037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493" y="2178275"/>
              <a:ext cx="243615" cy="216661"/>
            </a:xfrm>
            <a:custGeom>
              <a:avLst/>
              <a:gdLst/>
              <a:ahLst/>
              <a:cxnLst>
                <a:cxn ang="0">
                  <a:pos x="191" y="201"/>
                </a:cxn>
                <a:cxn ang="0">
                  <a:pos x="164" y="188"/>
                </a:cxn>
                <a:cxn ang="0">
                  <a:pos x="135" y="174"/>
                </a:cxn>
                <a:cxn ang="0">
                  <a:pos x="108" y="159"/>
                </a:cxn>
                <a:cxn ang="0">
                  <a:pos x="80" y="157"/>
                </a:cxn>
                <a:cxn ang="0">
                  <a:pos x="73" y="155"/>
                </a:cxn>
                <a:cxn ang="0">
                  <a:pos x="34" y="150"/>
                </a:cxn>
                <a:cxn ang="0">
                  <a:pos x="21" y="135"/>
                </a:cxn>
                <a:cxn ang="0">
                  <a:pos x="10" y="130"/>
                </a:cxn>
                <a:cxn ang="0">
                  <a:pos x="2" y="109"/>
                </a:cxn>
                <a:cxn ang="0">
                  <a:pos x="7" y="106"/>
                </a:cxn>
                <a:cxn ang="0">
                  <a:pos x="5" y="62"/>
                </a:cxn>
                <a:cxn ang="0">
                  <a:pos x="0" y="48"/>
                </a:cxn>
                <a:cxn ang="0">
                  <a:pos x="9" y="43"/>
                </a:cxn>
                <a:cxn ang="0">
                  <a:pos x="10" y="29"/>
                </a:cxn>
                <a:cxn ang="0">
                  <a:pos x="29" y="12"/>
                </a:cxn>
                <a:cxn ang="0">
                  <a:pos x="29" y="0"/>
                </a:cxn>
                <a:cxn ang="0">
                  <a:pos x="53" y="4"/>
                </a:cxn>
                <a:cxn ang="0">
                  <a:pos x="80" y="14"/>
                </a:cxn>
                <a:cxn ang="0">
                  <a:pos x="84" y="21"/>
                </a:cxn>
                <a:cxn ang="0">
                  <a:pos x="92" y="31"/>
                </a:cxn>
                <a:cxn ang="0">
                  <a:pos x="123" y="39"/>
                </a:cxn>
                <a:cxn ang="0">
                  <a:pos x="133" y="46"/>
                </a:cxn>
                <a:cxn ang="0">
                  <a:pos x="145" y="39"/>
                </a:cxn>
                <a:cxn ang="0">
                  <a:pos x="147" y="24"/>
                </a:cxn>
                <a:cxn ang="0">
                  <a:pos x="160" y="5"/>
                </a:cxn>
                <a:cxn ang="0">
                  <a:pos x="186" y="7"/>
                </a:cxn>
                <a:cxn ang="0">
                  <a:pos x="189" y="14"/>
                </a:cxn>
                <a:cxn ang="0">
                  <a:pos x="200" y="17"/>
                </a:cxn>
                <a:cxn ang="0">
                  <a:pos x="218" y="24"/>
                </a:cxn>
                <a:cxn ang="0">
                  <a:pos x="213" y="29"/>
                </a:cxn>
                <a:cxn ang="0">
                  <a:pos x="212" y="50"/>
                </a:cxn>
                <a:cxn ang="0">
                  <a:pos x="215" y="58"/>
                </a:cxn>
                <a:cxn ang="0">
                  <a:pos x="218" y="65"/>
                </a:cxn>
                <a:cxn ang="0">
                  <a:pos x="218" y="92"/>
                </a:cxn>
                <a:cxn ang="0">
                  <a:pos x="218" y="120"/>
                </a:cxn>
                <a:cxn ang="0">
                  <a:pos x="218" y="147"/>
                </a:cxn>
                <a:cxn ang="0">
                  <a:pos x="218" y="172"/>
                </a:cxn>
                <a:cxn ang="0">
                  <a:pos x="218" y="201"/>
                </a:cxn>
                <a:cxn ang="0">
                  <a:pos x="205" y="210"/>
                </a:cxn>
              </a:cxnLst>
              <a:rect l="0" t="0" r="r" b="b"/>
              <a:pathLst>
                <a:path w="219" h="211">
                  <a:moveTo>
                    <a:pt x="205" y="210"/>
                  </a:moveTo>
                  <a:lnTo>
                    <a:pt x="191" y="201"/>
                  </a:lnTo>
                  <a:lnTo>
                    <a:pt x="178" y="195"/>
                  </a:lnTo>
                  <a:lnTo>
                    <a:pt x="164" y="188"/>
                  </a:lnTo>
                  <a:lnTo>
                    <a:pt x="150" y="181"/>
                  </a:lnTo>
                  <a:lnTo>
                    <a:pt x="135" y="174"/>
                  </a:lnTo>
                  <a:lnTo>
                    <a:pt x="123" y="167"/>
                  </a:lnTo>
                  <a:lnTo>
                    <a:pt x="108" y="159"/>
                  </a:lnTo>
                  <a:lnTo>
                    <a:pt x="94" y="152"/>
                  </a:lnTo>
                  <a:lnTo>
                    <a:pt x="80" y="157"/>
                  </a:lnTo>
                  <a:lnTo>
                    <a:pt x="75" y="159"/>
                  </a:lnTo>
                  <a:lnTo>
                    <a:pt x="73" y="155"/>
                  </a:lnTo>
                  <a:lnTo>
                    <a:pt x="65" y="150"/>
                  </a:lnTo>
                  <a:lnTo>
                    <a:pt x="34" y="150"/>
                  </a:lnTo>
                  <a:lnTo>
                    <a:pt x="29" y="138"/>
                  </a:lnTo>
                  <a:lnTo>
                    <a:pt x="21" y="135"/>
                  </a:lnTo>
                  <a:lnTo>
                    <a:pt x="14" y="135"/>
                  </a:lnTo>
                  <a:lnTo>
                    <a:pt x="10" y="130"/>
                  </a:lnTo>
                  <a:lnTo>
                    <a:pt x="9" y="123"/>
                  </a:lnTo>
                  <a:lnTo>
                    <a:pt x="2" y="109"/>
                  </a:lnTo>
                  <a:lnTo>
                    <a:pt x="2" y="108"/>
                  </a:lnTo>
                  <a:lnTo>
                    <a:pt x="7" y="106"/>
                  </a:lnTo>
                  <a:lnTo>
                    <a:pt x="7" y="85"/>
                  </a:lnTo>
                  <a:lnTo>
                    <a:pt x="5" y="62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2" y="46"/>
                  </a:lnTo>
                  <a:lnTo>
                    <a:pt x="9" y="43"/>
                  </a:lnTo>
                  <a:lnTo>
                    <a:pt x="12" y="38"/>
                  </a:lnTo>
                  <a:lnTo>
                    <a:pt x="10" y="29"/>
                  </a:lnTo>
                  <a:lnTo>
                    <a:pt x="12" y="24"/>
                  </a:lnTo>
                  <a:lnTo>
                    <a:pt x="29" y="12"/>
                  </a:lnTo>
                  <a:lnTo>
                    <a:pt x="29" y="10"/>
                  </a:lnTo>
                  <a:lnTo>
                    <a:pt x="29" y="0"/>
                  </a:lnTo>
                  <a:lnTo>
                    <a:pt x="43" y="5"/>
                  </a:lnTo>
                  <a:lnTo>
                    <a:pt x="53" y="4"/>
                  </a:lnTo>
                  <a:lnTo>
                    <a:pt x="62" y="5"/>
                  </a:lnTo>
                  <a:lnTo>
                    <a:pt x="80" y="14"/>
                  </a:lnTo>
                  <a:lnTo>
                    <a:pt x="82" y="16"/>
                  </a:lnTo>
                  <a:lnTo>
                    <a:pt x="84" y="21"/>
                  </a:lnTo>
                  <a:lnTo>
                    <a:pt x="89" y="29"/>
                  </a:lnTo>
                  <a:lnTo>
                    <a:pt x="92" y="31"/>
                  </a:lnTo>
                  <a:lnTo>
                    <a:pt x="114" y="36"/>
                  </a:lnTo>
                  <a:lnTo>
                    <a:pt x="123" y="39"/>
                  </a:lnTo>
                  <a:lnTo>
                    <a:pt x="128" y="45"/>
                  </a:lnTo>
                  <a:lnTo>
                    <a:pt x="133" y="46"/>
                  </a:lnTo>
                  <a:lnTo>
                    <a:pt x="140" y="45"/>
                  </a:lnTo>
                  <a:lnTo>
                    <a:pt x="145" y="39"/>
                  </a:lnTo>
                  <a:lnTo>
                    <a:pt x="149" y="33"/>
                  </a:lnTo>
                  <a:lnTo>
                    <a:pt x="147" y="24"/>
                  </a:lnTo>
                  <a:lnTo>
                    <a:pt x="147" y="17"/>
                  </a:lnTo>
                  <a:lnTo>
                    <a:pt x="160" y="5"/>
                  </a:lnTo>
                  <a:lnTo>
                    <a:pt x="176" y="4"/>
                  </a:lnTo>
                  <a:lnTo>
                    <a:pt x="186" y="7"/>
                  </a:lnTo>
                  <a:lnTo>
                    <a:pt x="189" y="9"/>
                  </a:lnTo>
                  <a:lnTo>
                    <a:pt x="189" y="14"/>
                  </a:lnTo>
                  <a:lnTo>
                    <a:pt x="191" y="16"/>
                  </a:lnTo>
                  <a:lnTo>
                    <a:pt x="200" y="17"/>
                  </a:lnTo>
                  <a:lnTo>
                    <a:pt x="215" y="21"/>
                  </a:lnTo>
                  <a:lnTo>
                    <a:pt x="218" y="24"/>
                  </a:lnTo>
                  <a:lnTo>
                    <a:pt x="217" y="24"/>
                  </a:lnTo>
                  <a:lnTo>
                    <a:pt x="213" y="29"/>
                  </a:lnTo>
                  <a:lnTo>
                    <a:pt x="215" y="45"/>
                  </a:lnTo>
                  <a:lnTo>
                    <a:pt x="212" y="50"/>
                  </a:lnTo>
                  <a:lnTo>
                    <a:pt x="212" y="55"/>
                  </a:lnTo>
                  <a:lnTo>
                    <a:pt x="215" y="58"/>
                  </a:lnTo>
                  <a:lnTo>
                    <a:pt x="213" y="62"/>
                  </a:lnTo>
                  <a:lnTo>
                    <a:pt x="218" y="65"/>
                  </a:lnTo>
                  <a:lnTo>
                    <a:pt x="218" y="79"/>
                  </a:lnTo>
                  <a:lnTo>
                    <a:pt x="218" y="92"/>
                  </a:lnTo>
                  <a:lnTo>
                    <a:pt x="218" y="106"/>
                  </a:lnTo>
                  <a:lnTo>
                    <a:pt x="218" y="120"/>
                  </a:lnTo>
                  <a:lnTo>
                    <a:pt x="218" y="133"/>
                  </a:lnTo>
                  <a:lnTo>
                    <a:pt x="218" y="147"/>
                  </a:lnTo>
                  <a:lnTo>
                    <a:pt x="218" y="160"/>
                  </a:lnTo>
                  <a:lnTo>
                    <a:pt x="218" y="172"/>
                  </a:lnTo>
                  <a:lnTo>
                    <a:pt x="218" y="186"/>
                  </a:lnTo>
                  <a:lnTo>
                    <a:pt x="218" y="201"/>
                  </a:lnTo>
                  <a:lnTo>
                    <a:pt x="205" y="201"/>
                  </a:lnTo>
                  <a:lnTo>
                    <a:pt x="205" y="21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0" name="Freeform 178">
              <a:extLst>
                <a:ext uri="{FF2B5EF4-FFF2-40B4-BE49-F238E27FC236}">
                  <a16:creationId xmlns:a16="http://schemas.microsoft.com/office/drawing/2014/main" id="{C3AD1847-59DF-FF45-ACD0-30590E8DB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011" y="2334353"/>
              <a:ext cx="164635" cy="234117"/>
            </a:xfrm>
            <a:custGeom>
              <a:avLst/>
              <a:gdLst/>
              <a:ahLst/>
              <a:cxnLst>
                <a:cxn ang="0">
                  <a:pos x="147" y="70"/>
                </a:cxn>
                <a:cxn ang="0">
                  <a:pos x="147" y="97"/>
                </a:cxn>
                <a:cxn ang="0">
                  <a:pos x="131" y="112"/>
                </a:cxn>
                <a:cxn ang="0">
                  <a:pos x="123" y="128"/>
                </a:cxn>
                <a:cxn ang="0">
                  <a:pos x="120" y="138"/>
                </a:cxn>
                <a:cxn ang="0">
                  <a:pos x="118" y="150"/>
                </a:cxn>
                <a:cxn ang="0">
                  <a:pos x="123" y="152"/>
                </a:cxn>
                <a:cxn ang="0">
                  <a:pos x="131" y="174"/>
                </a:cxn>
                <a:cxn ang="0">
                  <a:pos x="128" y="177"/>
                </a:cxn>
                <a:cxn ang="0">
                  <a:pos x="114" y="184"/>
                </a:cxn>
                <a:cxn ang="0">
                  <a:pos x="106" y="196"/>
                </a:cxn>
                <a:cxn ang="0">
                  <a:pos x="99" y="201"/>
                </a:cxn>
                <a:cxn ang="0">
                  <a:pos x="77" y="206"/>
                </a:cxn>
                <a:cxn ang="0">
                  <a:pos x="79" y="211"/>
                </a:cxn>
                <a:cxn ang="0">
                  <a:pos x="60" y="220"/>
                </a:cxn>
                <a:cxn ang="0">
                  <a:pos x="43" y="222"/>
                </a:cxn>
                <a:cxn ang="0">
                  <a:pos x="36" y="227"/>
                </a:cxn>
                <a:cxn ang="0">
                  <a:pos x="22" y="210"/>
                </a:cxn>
                <a:cxn ang="0">
                  <a:pos x="12" y="205"/>
                </a:cxn>
                <a:cxn ang="0">
                  <a:pos x="9" y="194"/>
                </a:cxn>
                <a:cxn ang="0">
                  <a:pos x="24" y="193"/>
                </a:cxn>
                <a:cxn ang="0">
                  <a:pos x="26" y="187"/>
                </a:cxn>
                <a:cxn ang="0">
                  <a:pos x="21" y="165"/>
                </a:cxn>
                <a:cxn ang="0">
                  <a:pos x="14" y="150"/>
                </a:cxn>
                <a:cxn ang="0">
                  <a:pos x="9" y="148"/>
                </a:cxn>
                <a:cxn ang="0">
                  <a:pos x="0" y="131"/>
                </a:cxn>
                <a:cxn ang="0">
                  <a:pos x="2" y="126"/>
                </a:cxn>
                <a:cxn ang="0">
                  <a:pos x="27" y="94"/>
                </a:cxn>
                <a:cxn ang="0">
                  <a:pos x="33" y="49"/>
                </a:cxn>
                <a:cxn ang="0">
                  <a:pos x="27" y="37"/>
                </a:cxn>
                <a:cxn ang="0">
                  <a:pos x="22" y="5"/>
                </a:cxn>
                <a:cxn ang="0">
                  <a:pos x="50" y="7"/>
                </a:cxn>
                <a:cxn ang="0">
                  <a:pos x="77" y="22"/>
                </a:cxn>
                <a:cxn ang="0">
                  <a:pos x="106" y="36"/>
                </a:cxn>
                <a:cxn ang="0">
                  <a:pos x="133" y="49"/>
                </a:cxn>
              </a:cxnLst>
              <a:rect l="0" t="0" r="r" b="b"/>
              <a:pathLst>
                <a:path w="148" h="228">
                  <a:moveTo>
                    <a:pt x="147" y="58"/>
                  </a:moveTo>
                  <a:lnTo>
                    <a:pt x="147" y="70"/>
                  </a:lnTo>
                  <a:lnTo>
                    <a:pt x="147" y="83"/>
                  </a:lnTo>
                  <a:lnTo>
                    <a:pt x="147" y="97"/>
                  </a:lnTo>
                  <a:lnTo>
                    <a:pt x="147" y="111"/>
                  </a:lnTo>
                  <a:lnTo>
                    <a:pt x="131" y="112"/>
                  </a:lnTo>
                  <a:lnTo>
                    <a:pt x="130" y="119"/>
                  </a:lnTo>
                  <a:lnTo>
                    <a:pt x="123" y="128"/>
                  </a:lnTo>
                  <a:lnTo>
                    <a:pt x="123" y="135"/>
                  </a:lnTo>
                  <a:lnTo>
                    <a:pt x="120" y="138"/>
                  </a:lnTo>
                  <a:lnTo>
                    <a:pt x="120" y="143"/>
                  </a:lnTo>
                  <a:lnTo>
                    <a:pt x="118" y="150"/>
                  </a:lnTo>
                  <a:lnTo>
                    <a:pt x="116" y="153"/>
                  </a:lnTo>
                  <a:lnTo>
                    <a:pt x="123" y="152"/>
                  </a:lnTo>
                  <a:lnTo>
                    <a:pt x="125" y="160"/>
                  </a:lnTo>
                  <a:lnTo>
                    <a:pt x="131" y="174"/>
                  </a:lnTo>
                  <a:lnTo>
                    <a:pt x="131" y="176"/>
                  </a:lnTo>
                  <a:lnTo>
                    <a:pt x="128" y="177"/>
                  </a:lnTo>
                  <a:lnTo>
                    <a:pt x="118" y="179"/>
                  </a:lnTo>
                  <a:lnTo>
                    <a:pt x="114" y="184"/>
                  </a:lnTo>
                  <a:lnTo>
                    <a:pt x="114" y="187"/>
                  </a:lnTo>
                  <a:lnTo>
                    <a:pt x="106" y="196"/>
                  </a:lnTo>
                  <a:lnTo>
                    <a:pt x="104" y="199"/>
                  </a:lnTo>
                  <a:lnTo>
                    <a:pt x="99" y="201"/>
                  </a:lnTo>
                  <a:lnTo>
                    <a:pt x="97" y="203"/>
                  </a:lnTo>
                  <a:lnTo>
                    <a:pt x="77" y="206"/>
                  </a:lnTo>
                  <a:lnTo>
                    <a:pt x="77" y="208"/>
                  </a:lnTo>
                  <a:lnTo>
                    <a:pt x="79" y="211"/>
                  </a:lnTo>
                  <a:lnTo>
                    <a:pt x="72" y="218"/>
                  </a:lnTo>
                  <a:lnTo>
                    <a:pt x="60" y="220"/>
                  </a:lnTo>
                  <a:lnTo>
                    <a:pt x="48" y="225"/>
                  </a:lnTo>
                  <a:lnTo>
                    <a:pt x="43" y="222"/>
                  </a:lnTo>
                  <a:lnTo>
                    <a:pt x="41" y="223"/>
                  </a:lnTo>
                  <a:lnTo>
                    <a:pt x="36" y="227"/>
                  </a:lnTo>
                  <a:lnTo>
                    <a:pt x="27" y="227"/>
                  </a:lnTo>
                  <a:lnTo>
                    <a:pt x="22" y="210"/>
                  </a:lnTo>
                  <a:lnTo>
                    <a:pt x="19" y="208"/>
                  </a:lnTo>
                  <a:lnTo>
                    <a:pt x="12" y="205"/>
                  </a:lnTo>
                  <a:lnTo>
                    <a:pt x="9" y="198"/>
                  </a:lnTo>
                  <a:lnTo>
                    <a:pt x="9" y="194"/>
                  </a:lnTo>
                  <a:lnTo>
                    <a:pt x="12" y="191"/>
                  </a:lnTo>
                  <a:lnTo>
                    <a:pt x="24" y="193"/>
                  </a:lnTo>
                  <a:lnTo>
                    <a:pt x="26" y="191"/>
                  </a:lnTo>
                  <a:lnTo>
                    <a:pt x="26" y="187"/>
                  </a:lnTo>
                  <a:lnTo>
                    <a:pt x="19" y="177"/>
                  </a:lnTo>
                  <a:lnTo>
                    <a:pt x="21" y="165"/>
                  </a:lnTo>
                  <a:lnTo>
                    <a:pt x="15" y="152"/>
                  </a:lnTo>
                  <a:lnTo>
                    <a:pt x="14" y="150"/>
                  </a:lnTo>
                  <a:lnTo>
                    <a:pt x="12" y="148"/>
                  </a:lnTo>
                  <a:lnTo>
                    <a:pt x="9" y="148"/>
                  </a:lnTo>
                  <a:lnTo>
                    <a:pt x="2" y="138"/>
                  </a:lnTo>
                  <a:lnTo>
                    <a:pt x="0" y="131"/>
                  </a:lnTo>
                  <a:lnTo>
                    <a:pt x="0" y="128"/>
                  </a:lnTo>
                  <a:lnTo>
                    <a:pt x="2" y="126"/>
                  </a:lnTo>
                  <a:lnTo>
                    <a:pt x="4" y="119"/>
                  </a:lnTo>
                  <a:lnTo>
                    <a:pt x="27" y="94"/>
                  </a:lnTo>
                  <a:lnTo>
                    <a:pt x="29" y="70"/>
                  </a:lnTo>
                  <a:lnTo>
                    <a:pt x="33" y="49"/>
                  </a:lnTo>
                  <a:lnTo>
                    <a:pt x="36" y="44"/>
                  </a:lnTo>
                  <a:lnTo>
                    <a:pt x="27" y="37"/>
                  </a:lnTo>
                  <a:lnTo>
                    <a:pt x="22" y="29"/>
                  </a:lnTo>
                  <a:lnTo>
                    <a:pt x="22" y="5"/>
                  </a:lnTo>
                  <a:lnTo>
                    <a:pt x="36" y="0"/>
                  </a:lnTo>
                  <a:lnTo>
                    <a:pt x="50" y="7"/>
                  </a:lnTo>
                  <a:lnTo>
                    <a:pt x="65" y="15"/>
                  </a:lnTo>
                  <a:lnTo>
                    <a:pt x="77" y="22"/>
                  </a:lnTo>
                  <a:lnTo>
                    <a:pt x="92" y="29"/>
                  </a:lnTo>
                  <a:lnTo>
                    <a:pt x="106" y="36"/>
                  </a:lnTo>
                  <a:lnTo>
                    <a:pt x="120" y="43"/>
                  </a:lnTo>
                  <a:lnTo>
                    <a:pt x="133" y="49"/>
                  </a:lnTo>
                  <a:lnTo>
                    <a:pt x="147" y="58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1" name="Freeform 179">
              <a:extLst>
                <a:ext uri="{FF2B5EF4-FFF2-40B4-BE49-F238E27FC236}">
                  <a16:creationId xmlns:a16="http://schemas.microsoft.com/office/drawing/2014/main" id="{C690F922-1716-E748-B532-7942AAB8B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4212" y="2131041"/>
              <a:ext cx="184657" cy="135541"/>
            </a:xfrm>
            <a:custGeom>
              <a:avLst/>
              <a:gdLst/>
              <a:ahLst/>
              <a:cxnLst>
                <a:cxn ang="0">
                  <a:pos x="59" y="131"/>
                </a:cxn>
                <a:cxn ang="0">
                  <a:pos x="46" y="131"/>
                </a:cxn>
                <a:cxn ang="0">
                  <a:pos x="30" y="131"/>
                </a:cxn>
                <a:cxn ang="0">
                  <a:pos x="15" y="131"/>
                </a:cxn>
                <a:cxn ang="0">
                  <a:pos x="0" y="131"/>
                </a:cxn>
                <a:cxn ang="0">
                  <a:pos x="1" y="130"/>
                </a:cxn>
                <a:cxn ang="0">
                  <a:pos x="18" y="125"/>
                </a:cxn>
                <a:cxn ang="0">
                  <a:pos x="25" y="119"/>
                </a:cxn>
                <a:cxn ang="0">
                  <a:pos x="37" y="109"/>
                </a:cxn>
                <a:cxn ang="0">
                  <a:pos x="42" y="102"/>
                </a:cxn>
                <a:cxn ang="0">
                  <a:pos x="46" y="96"/>
                </a:cxn>
                <a:cxn ang="0">
                  <a:pos x="46" y="91"/>
                </a:cxn>
                <a:cxn ang="0">
                  <a:pos x="44" y="85"/>
                </a:cxn>
                <a:cxn ang="0">
                  <a:pos x="44" y="75"/>
                </a:cxn>
                <a:cxn ang="0">
                  <a:pos x="49" y="67"/>
                </a:cxn>
                <a:cxn ang="0">
                  <a:pos x="53" y="65"/>
                </a:cxn>
                <a:cxn ang="0">
                  <a:pos x="53" y="56"/>
                </a:cxn>
                <a:cxn ang="0">
                  <a:pos x="63" y="44"/>
                </a:cxn>
                <a:cxn ang="0">
                  <a:pos x="78" y="38"/>
                </a:cxn>
                <a:cxn ang="0">
                  <a:pos x="87" y="31"/>
                </a:cxn>
                <a:cxn ang="0">
                  <a:pos x="92" y="22"/>
                </a:cxn>
                <a:cxn ang="0">
                  <a:pos x="99" y="4"/>
                </a:cxn>
                <a:cxn ang="0">
                  <a:pos x="105" y="0"/>
                </a:cxn>
                <a:cxn ang="0">
                  <a:pos x="111" y="9"/>
                </a:cxn>
                <a:cxn ang="0">
                  <a:pos x="119" y="12"/>
                </a:cxn>
                <a:cxn ang="0">
                  <a:pos x="138" y="10"/>
                </a:cxn>
                <a:cxn ang="0">
                  <a:pos x="145" y="14"/>
                </a:cxn>
                <a:cxn ang="0">
                  <a:pos x="146" y="14"/>
                </a:cxn>
                <a:cxn ang="0">
                  <a:pos x="152" y="14"/>
                </a:cxn>
                <a:cxn ang="0">
                  <a:pos x="150" y="15"/>
                </a:cxn>
                <a:cxn ang="0">
                  <a:pos x="150" y="17"/>
                </a:cxn>
                <a:cxn ang="0">
                  <a:pos x="155" y="19"/>
                </a:cxn>
                <a:cxn ang="0">
                  <a:pos x="153" y="21"/>
                </a:cxn>
                <a:cxn ang="0">
                  <a:pos x="155" y="22"/>
                </a:cxn>
                <a:cxn ang="0">
                  <a:pos x="155" y="24"/>
                </a:cxn>
                <a:cxn ang="0">
                  <a:pos x="155" y="29"/>
                </a:cxn>
                <a:cxn ang="0">
                  <a:pos x="155" y="34"/>
                </a:cxn>
                <a:cxn ang="0">
                  <a:pos x="157" y="38"/>
                </a:cxn>
                <a:cxn ang="0">
                  <a:pos x="157" y="43"/>
                </a:cxn>
                <a:cxn ang="0">
                  <a:pos x="158" y="48"/>
                </a:cxn>
                <a:cxn ang="0">
                  <a:pos x="160" y="51"/>
                </a:cxn>
                <a:cxn ang="0">
                  <a:pos x="165" y="55"/>
                </a:cxn>
                <a:cxn ang="0">
                  <a:pos x="162" y="58"/>
                </a:cxn>
                <a:cxn ang="0">
                  <a:pos x="163" y="62"/>
                </a:cxn>
                <a:cxn ang="0">
                  <a:pos x="140" y="62"/>
                </a:cxn>
                <a:cxn ang="0">
                  <a:pos x="138" y="67"/>
                </a:cxn>
                <a:cxn ang="0">
                  <a:pos x="126" y="70"/>
                </a:cxn>
                <a:cxn ang="0">
                  <a:pos x="126" y="72"/>
                </a:cxn>
                <a:cxn ang="0">
                  <a:pos x="128" y="73"/>
                </a:cxn>
                <a:cxn ang="0">
                  <a:pos x="126" y="77"/>
                </a:cxn>
                <a:cxn ang="0">
                  <a:pos x="129" y="79"/>
                </a:cxn>
                <a:cxn ang="0">
                  <a:pos x="129" y="80"/>
                </a:cxn>
                <a:cxn ang="0">
                  <a:pos x="112" y="87"/>
                </a:cxn>
                <a:cxn ang="0">
                  <a:pos x="107" y="94"/>
                </a:cxn>
                <a:cxn ang="0">
                  <a:pos x="102" y="97"/>
                </a:cxn>
                <a:cxn ang="0">
                  <a:pos x="88" y="99"/>
                </a:cxn>
                <a:cxn ang="0">
                  <a:pos x="88" y="102"/>
                </a:cxn>
                <a:cxn ang="0">
                  <a:pos x="82" y="101"/>
                </a:cxn>
                <a:cxn ang="0">
                  <a:pos x="75" y="106"/>
                </a:cxn>
                <a:cxn ang="0">
                  <a:pos x="71" y="106"/>
                </a:cxn>
                <a:cxn ang="0">
                  <a:pos x="66" y="109"/>
                </a:cxn>
                <a:cxn ang="0">
                  <a:pos x="59" y="114"/>
                </a:cxn>
                <a:cxn ang="0">
                  <a:pos x="59" y="131"/>
                </a:cxn>
              </a:cxnLst>
              <a:rect l="0" t="0" r="r" b="b"/>
              <a:pathLst>
                <a:path w="166" h="132">
                  <a:moveTo>
                    <a:pt x="59" y="131"/>
                  </a:moveTo>
                  <a:lnTo>
                    <a:pt x="46" y="131"/>
                  </a:lnTo>
                  <a:lnTo>
                    <a:pt x="30" y="131"/>
                  </a:lnTo>
                  <a:lnTo>
                    <a:pt x="15" y="131"/>
                  </a:lnTo>
                  <a:lnTo>
                    <a:pt x="0" y="131"/>
                  </a:lnTo>
                  <a:lnTo>
                    <a:pt x="1" y="130"/>
                  </a:lnTo>
                  <a:lnTo>
                    <a:pt x="18" y="125"/>
                  </a:lnTo>
                  <a:lnTo>
                    <a:pt x="25" y="119"/>
                  </a:lnTo>
                  <a:lnTo>
                    <a:pt x="37" y="109"/>
                  </a:lnTo>
                  <a:lnTo>
                    <a:pt x="42" y="102"/>
                  </a:lnTo>
                  <a:lnTo>
                    <a:pt x="46" y="96"/>
                  </a:lnTo>
                  <a:lnTo>
                    <a:pt x="46" y="91"/>
                  </a:lnTo>
                  <a:lnTo>
                    <a:pt x="44" y="85"/>
                  </a:lnTo>
                  <a:lnTo>
                    <a:pt x="44" y="75"/>
                  </a:lnTo>
                  <a:lnTo>
                    <a:pt x="49" y="67"/>
                  </a:lnTo>
                  <a:lnTo>
                    <a:pt x="53" y="65"/>
                  </a:lnTo>
                  <a:lnTo>
                    <a:pt x="53" y="56"/>
                  </a:lnTo>
                  <a:lnTo>
                    <a:pt x="63" y="44"/>
                  </a:lnTo>
                  <a:lnTo>
                    <a:pt x="78" y="38"/>
                  </a:lnTo>
                  <a:lnTo>
                    <a:pt x="87" y="31"/>
                  </a:lnTo>
                  <a:lnTo>
                    <a:pt x="92" y="22"/>
                  </a:lnTo>
                  <a:lnTo>
                    <a:pt x="99" y="4"/>
                  </a:lnTo>
                  <a:lnTo>
                    <a:pt x="105" y="0"/>
                  </a:lnTo>
                  <a:lnTo>
                    <a:pt x="111" y="9"/>
                  </a:lnTo>
                  <a:lnTo>
                    <a:pt x="119" y="12"/>
                  </a:lnTo>
                  <a:lnTo>
                    <a:pt x="138" y="10"/>
                  </a:lnTo>
                  <a:lnTo>
                    <a:pt x="145" y="14"/>
                  </a:lnTo>
                  <a:lnTo>
                    <a:pt x="146" y="14"/>
                  </a:lnTo>
                  <a:lnTo>
                    <a:pt x="152" y="14"/>
                  </a:lnTo>
                  <a:lnTo>
                    <a:pt x="150" y="15"/>
                  </a:lnTo>
                  <a:lnTo>
                    <a:pt x="150" y="17"/>
                  </a:lnTo>
                  <a:lnTo>
                    <a:pt x="155" y="19"/>
                  </a:lnTo>
                  <a:lnTo>
                    <a:pt x="153" y="21"/>
                  </a:lnTo>
                  <a:lnTo>
                    <a:pt x="155" y="22"/>
                  </a:lnTo>
                  <a:lnTo>
                    <a:pt x="155" y="24"/>
                  </a:lnTo>
                  <a:lnTo>
                    <a:pt x="155" y="29"/>
                  </a:lnTo>
                  <a:lnTo>
                    <a:pt x="155" y="34"/>
                  </a:lnTo>
                  <a:lnTo>
                    <a:pt x="157" y="38"/>
                  </a:lnTo>
                  <a:lnTo>
                    <a:pt x="157" y="43"/>
                  </a:lnTo>
                  <a:lnTo>
                    <a:pt x="158" y="48"/>
                  </a:lnTo>
                  <a:lnTo>
                    <a:pt x="160" y="51"/>
                  </a:lnTo>
                  <a:lnTo>
                    <a:pt x="165" y="55"/>
                  </a:lnTo>
                  <a:lnTo>
                    <a:pt x="162" y="58"/>
                  </a:lnTo>
                  <a:lnTo>
                    <a:pt x="163" y="62"/>
                  </a:lnTo>
                  <a:lnTo>
                    <a:pt x="140" y="62"/>
                  </a:lnTo>
                  <a:lnTo>
                    <a:pt x="138" y="67"/>
                  </a:lnTo>
                  <a:lnTo>
                    <a:pt x="126" y="70"/>
                  </a:lnTo>
                  <a:lnTo>
                    <a:pt x="126" y="72"/>
                  </a:lnTo>
                  <a:lnTo>
                    <a:pt x="128" y="73"/>
                  </a:lnTo>
                  <a:lnTo>
                    <a:pt x="126" y="77"/>
                  </a:lnTo>
                  <a:lnTo>
                    <a:pt x="129" y="79"/>
                  </a:lnTo>
                  <a:lnTo>
                    <a:pt x="129" y="80"/>
                  </a:lnTo>
                  <a:lnTo>
                    <a:pt x="112" y="87"/>
                  </a:lnTo>
                  <a:lnTo>
                    <a:pt x="107" y="94"/>
                  </a:lnTo>
                  <a:lnTo>
                    <a:pt x="102" y="97"/>
                  </a:lnTo>
                  <a:lnTo>
                    <a:pt x="88" y="99"/>
                  </a:lnTo>
                  <a:lnTo>
                    <a:pt x="88" y="102"/>
                  </a:lnTo>
                  <a:lnTo>
                    <a:pt x="82" y="101"/>
                  </a:lnTo>
                  <a:lnTo>
                    <a:pt x="75" y="106"/>
                  </a:lnTo>
                  <a:lnTo>
                    <a:pt x="71" y="106"/>
                  </a:lnTo>
                  <a:lnTo>
                    <a:pt x="66" y="109"/>
                  </a:lnTo>
                  <a:lnTo>
                    <a:pt x="59" y="114"/>
                  </a:lnTo>
                  <a:lnTo>
                    <a:pt x="59" y="131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2" name="Freeform 180">
              <a:extLst>
                <a:ext uri="{FF2B5EF4-FFF2-40B4-BE49-F238E27FC236}">
                  <a16:creationId xmlns:a16="http://schemas.microsoft.com/office/drawing/2014/main" id="{9567F554-8E9D-3D45-805C-1C28C224E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3030" y="2274797"/>
              <a:ext cx="185770" cy="187910"/>
            </a:xfrm>
            <a:custGeom>
              <a:avLst/>
              <a:gdLst/>
              <a:ahLst/>
              <a:cxnLst>
                <a:cxn ang="0">
                  <a:pos x="111" y="172"/>
                </a:cxn>
                <a:cxn ang="0">
                  <a:pos x="142" y="172"/>
                </a:cxn>
                <a:cxn ang="0">
                  <a:pos x="160" y="160"/>
                </a:cxn>
                <a:cxn ang="0">
                  <a:pos x="154" y="143"/>
                </a:cxn>
                <a:cxn ang="0">
                  <a:pos x="150" y="112"/>
                </a:cxn>
                <a:cxn ang="0">
                  <a:pos x="147" y="82"/>
                </a:cxn>
                <a:cxn ang="0">
                  <a:pos x="143" y="49"/>
                </a:cxn>
                <a:cxn ang="0">
                  <a:pos x="154" y="34"/>
                </a:cxn>
                <a:cxn ang="0">
                  <a:pos x="154" y="26"/>
                </a:cxn>
                <a:cxn ang="0">
                  <a:pos x="128" y="8"/>
                </a:cxn>
                <a:cxn ang="0">
                  <a:pos x="114" y="19"/>
                </a:cxn>
                <a:cxn ang="0">
                  <a:pos x="92" y="17"/>
                </a:cxn>
                <a:cxn ang="0">
                  <a:pos x="72" y="17"/>
                </a:cxn>
                <a:cxn ang="0">
                  <a:pos x="70" y="43"/>
                </a:cxn>
                <a:cxn ang="0">
                  <a:pos x="58" y="60"/>
                </a:cxn>
                <a:cxn ang="0">
                  <a:pos x="55" y="75"/>
                </a:cxn>
                <a:cxn ang="0">
                  <a:pos x="43" y="87"/>
                </a:cxn>
                <a:cxn ang="0">
                  <a:pos x="17" y="87"/>
                </a:cxn>
                <a:cxn ang="0">
                  <a:pos x="0" y="92"/>
                </a:cxn>
                <a:cxn ang="0">
                  <a:pos x="5" y="99"/>
                </a:cxn>
                <a:cxn ang="0">
                  <a:pos x="10" y="102"/>
                </a:cxn>
                <a:cxn ang="0">
                  <a:pos x="10" y="111"/>
                </a:cxn>
                <a:cxn ang="0">
                  <a:pos x="12" y="123"/>
                </a:cxn>
                <a:cxn ang="0">
                  <a:pos x="14" y="141"/>
                </a:cxn>
                <a:cxn ang="0">
                  <a:pos x="9" y="157"/>
                </a:cxn>
                <a:cxn ang="0">
                  <a:pos x="26" y="155"/>
                </a:cxn>
                <a:cxn ang="0">
                  <a:pos x="43" y="162"/>
                </a:cxn>
                <a:cxn ang="0">
                  <a:pos x="51" y="170"/>
                </a:cxn>
                <a:cxn ang="0">
                  <a:pos x="58" y="174"/>
                </a:cxn>
                <a:cxn ang="0">
                  <a:pos x="67" y="182"/>
                </a:cxn>
                <a:cxn ang="0">
                  <a:pos x="77" y="167"/>
                </a:cxn>
                <a:cxn ang="0">
                  <a:pos x="84" y="176"/>
                </a:cxn>
                <a:cxn ang="0">
                  <a:pos x="94" y="172"/>
                </a:cxn>
              </a:cxnLst>
              <a:rect l="0" t="0" r="r" b="b"/>
              <a:pathLst>
                <a:path w="167" h="183">
                  <a:moveTo>
                    <a:pt x="94" y="172"/>
                  </a:moveTo>
                  <a:lnTo>
                    <a:pt x="111" y="172"/>
                  </a:lnTo>
                  <a:lnTo>
                    <a:pt x="126" y="172"/>
                  </a:lnTo>
                  <a:lnTo>
                    <a:pt x="142" y="172"/>
                  </a:lnTo>
                  <a:lnTo>
                    <a:pt x="157" y="172"/>
                  </a:lnTo>
                  <a:lnTo>
                    <a:pt x="160" y="160"/>
                  </a:lnTo>
                  <a:lnTo>
                    <a:pt x="155" y="159"/>
                  </a:lnTo>
                  <a:lnTo>
                    <a:pt x="154" y="143"/>
                  </a:lnTo>
                  <a:lnTo>
                    <a:pt x="152" y="128"/>
                  </a:lnTo>
                  <a:lnTo>
                    <a:pt x="150" y="112"/>
                  </a:lnTo>
                  <a:lnTo>
                    <a:pt x="149" y="97"/>
                  </a:lnTo>
                  <a:lnTo>
                    <a:pt x="147" y="82"/>
                  </a:lnTo>
                  <a:lnTo>
                    <a:pt x="145" y="66"/>
                  </a:lnTo>
                  <a:lnTo>
                    <a:pt x="143" y="49"/>
                  </a:lnTo>
                  <a:lnTo>
                    <a:pt x="142" y="34"/>
                  </a:lnTo>
                  <a:lnTo>
                    <a:pt x="154" y="34"/>
                  </a:lnTo>
                  <a:lnTo>
                    <a:pt x="166" y="34"/>
                  </a:lnTo>
                  <a:lnTo>
                    <a:pt x="154" y="26"/>
                  </a:lnTo>
                  <a:lnTo>
                    <a:pt x="142" y="17"/>
                  </a:lnTo>
                  <a:lnTo>
                    <a:pt x="128" y="8"/>
                  </a:lnTo>
                  <a:lnTo>
                    <a:pt x="116" y="0"/>
                  </a:lnTo>
                  <a:lnTo>
                    <a:pt x="114" y="19"/>
                  </a:lnTo>
                  <a:lnTo>
                    <a:pt x="104" y="19"/>
                  </a:lnTo>
                  <a:lnTo>
                    <a:pt x="92" y="17"/>
                  </a:lnTo>
                  <a:lnTo>
                    <a:pt x="82" y="17"/>
                  </a:lnTo>
                  <a:lnTo>
                    <a:pt x="72" y="17"/>
                  </a:lnTo>
                  <a:lnTo>
                    <a:pt x="70" y="29"/>
                  </a:lnTo>
                  <a:lnTo>
                    <a:pt x="70" y="43"/>
                  </a:lnTo>
                  <a:lnTo>
                    <a:pt x="70" y="56"/>
                  </a:lnTo>
                  <a:lnTo>
                    <a:pt x="58" y="60"/>
                  </a:lnTo>
                  <a:lnTo>
                    <a:pt x="55" y="65"/>
                  </a:lnTo>
                  <a:lnTo>
                    <a:pt x="55" y="75"/>
                  </a:lnTo>
                  <a:lnTo>
                    <a:pt x="56" y="87"/>
                  </a:lnTo>
                  <a:lnTo>
                    <a:pt x="43" y="87"/>
                  </a:lnTo>
                  <a:lnTo>
                    <a:pt x="31" y="87"/>
                  </a:lnTo>
                  <a:lnTo>
                    <a:pt x="17" y="87"/>
                  </a:lnTo>
                  <a:lnTo>
                    <a:pt x="4" y="87"/>
                  </a:lnTo>
                  <a:lnTo>
                    <a:pt x="0" y="92"/>
                  </a:lnTo>
                  <a:lnTo>
                    <a:pt x="2" y="92"/>
                  </a:lnTo>
                  <a:lnTo>
                    <a:pt x="5" y="99"/>
                  </a:lnTo>
                  <a:lnTo>
                    <a:pt x="9" y="99"/>
                  </a:lnTo>
                  <a:lnTo>
                    <a:pt x="10" y="102"/>
                  </a:lnTo>
                  <a:lnTo>
                    <a:pt x="10" y="107"/>
                  </a:lnTo>
                  <a:lnTo>
                    <a:pt x="10" y="111"/>
                  </a:lnTo>
                  <a:lnTo>
                    <a:pt x="7" y="116"/>
                  </a:lnTo>
                  <a:lnTo>
                    <a:pt x="12" y="123"/>
                  </a:lnTo>
                  <a:lnTo>
                    <a:pt x="12" y="130"/>
                  </a:lnTo>
                  <a:lnTo>
                    <a:pt x="14" y="141"/>
                  </a:lnTo>
                  <a:lnTo>
                    <a:pt x="5" y="164"/>
                  </a:lnTo>
                  <a:lnTo>
                    <a:pt x="9" y="157"/>
                  </a:lnTo>
                  <a:lnTo>
                    <a:pt x="17" y="159"/>
                  </a:lnTo>
                  <a:lnTo>
                    <a:pt x="26" y="155"/>
                  </a:lnTo>
                  <a:lnTo>
                    <a:pt x="36" y="155"/>
                  </a:lnTo>
                  <a:lnTo>
                    <a:pt x="43" y="162"/>
                  </a:lnTo>
                  <a:lnTo>
                    <a:pt x="48" y="162"/>
                  </a:lnTo>
                  <a:lnTo>
                    <a:pt x="51" y="170"/>
                  </a:lnTo>
                  <a:lnTo>
                    <a:pt x="55" y="172"/>
                  </a:lnTo>
                  <a:lnTo>
                    <a:pt x="58" y="174"/>
                  </a:lnTo>
                  <a:lnTo>
                    <a:pt x="56" y="176"/>
                  </a:lnTo>
                  <a:lnTo>
                    <a:pt x="67" y="182"/>
                  </a:lnTo>
                  <a:lnTo>
                    <a:pt x="72" y="177"/>
                  </a:lnTo>
                  <a:lnTo>
                    <a:pt x="77" y="167"/>
                  </a:lnTo>
                  <a:lnTo>
                    <a:pt x="80" y="169"/>
                  </a:lnTo>
                  <a:lnTo>
                    <a:pt x="84" y="176"/>
                  </a:lnTo>
                  <a:lnTo>
                    <a:pt x="87" y="177"/>
                  </a:lnTo>
                  <a:lnTo>
                    <a:pt x="94" y="172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3" name="Freeform 181">
              <a:extLst>
                <a:ext uri="{FF2B5EF4-FFF2-40B4-BE49-F238E27FC236}">
                  <a16:creationId xmlns:a16="http://schemas.microsoft.com/office/drawing/2014/main" id="{33EC8C2F-C1EE-8F48-8702-B9A347DD2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3030" y="2265555"/>
              <a:ext cx="130150" cy="104737"/>
            </a:xfrm>
            <a:custGeom>
              <a:avLst/>
              <a:gdLst/>
              <a:ahLst/>
              <a:cxnLst>
                <a:cxn ang="0">
                  <a:pos x="114" y="28"/>
                </a:cxn>
                <a:cxn ang="0">
                  <a:pos x="104" y="28"/>
                </a:cxn>
                <a:cxn ang="0">
                  <a:pos x="92" y="26"/>
                </a:cxn>
                <a:cxn ang="0">
                  <a:pos x="82" y="26"/>
                </a:cxn>
                <a:cxn ang="0">
                  <a:pos x="72" y="26"/>
                </a:cxn>
                <a:cxn ang="0">
                  <a:pos x="70" y="38"/>
                </a:cxn>
                <a:cxn ang="0">
                  <a:pos x="70" y="52"/>
                </a:cxn>
                <a:cxn ang="0">
                  <a:pos x="70" y="65"/>
                </a:cxn>
                <a:cxn ang="0">
                  <a:pos x="58" y="69"/>
                </a:cxn>
                <a:cxn ang="0">
                  <a:pos x="55" y="74"/>
                </a:cxn>
                <a:cxn ang="0">
                  <a:pos x="55" y="84"/>
                </a:cxn>
                <a:cxn ang="0">
                  <a:pos x="56" y="96"/>
                </a:cxn>
                <a:cxn ang="0">
                  <a:pos x="43" y="96"/>
                </a:cxn>
                <a:cxn ang="0">
                  <a:pos x="31" y="96"/>
                </a:cxn>
                <a:cxn ang="0">
                  <a:pos x="17" y="96"/>
                </a:cxn>
                <a:cxn ang="0">
                  <a:pos x="4" y="96"/>
                </a:cxn>
                <a:cxn ang="0">
                  <a:pos x="0" y="101"/>
                </a:cxn>
                <a:cxn ang="0">
                  <a:pos x="2" y="91"/>
                </a:cxn>
                <a:cxn ang="0">
                  <a:pos x="4" y="84"/>
                </a:cxn>
                <a:cxn ang="0">
                  <a:pos x="7" y="82"/>
                </a:cxn>
                <a:cxn ang="0">
                  <a:pos x="12" y="72"/>
                </a:cxn>
                <a:cxn ang="0">
                  <a:pos x="12" y="70"/>
                </a:cxn>
                <a:cxn ang="0">
                  <a:pos x="19" y="58"/>
                </a:cxn>
                <a:cxn ang="0">
                  <a:pos x="31" y="41"/>
                </a:cxn>
                <a:cxn ang="0">
                  <a:pos x="34" y="26"/>
                </a:cxn>
                <a:cxn ang="0">
                  <a:pos x="39" y="21"/>
                </a:cxn>
                <a:cxn ang="0">
                  <a:pos x="48" y="16"/>
                </a:cxn>
                <a:cxn ang="0">
                  <a:pos x="51" y="9"/>
                </a:cxn>
                <a:cxn ang="0">
                  <a:pos x="55" y="0"/>
                </a:cxn>
                <a:cxn ang="0">
                  <a:pos x="70" y="0"/>
                </a:cxn>
                <a:cxn ang="0">
                  <a:pos x="85" y="0"/>
                </a:cxn>
                <a:cxn ang="0">
                  <a:pos x="101" y="0"/>
                </a:cxn>
                <a:cxn ang="0">
                  <a:pos x="114" y="0"/>
                </a:cxn>
                <a:cxn ang="0">
                  <a:pos x="116" y="9"/>
                </a:cxn>
                <a:cxn ang="0">
                  <a:pos x="114" y="28"/>
                </a:cxn>
              </a:cxnLst>
              <a:rect l="0" t="0" r="r" b="b"/>
              <a:pathLst>
                <a:path w="117" h="102">
                  <a:moveTo>
                    <a:pt x="114" y="28"/>
                  </a:moveTo>
                  <a:lnTo>
                    <a:pt x="104" y="28"/>
                  </a:lnTo>
                  <a:lnTo>
                    <a:pt x="92" y="26"/>
                  </a:lnTo>
                  <a:lnTo>
                    <a:pt x="82" y="26"/>
                  </a:lnTo>
                  <a:lnTo>
                    <a:pt x="72" y="26"/>
                  </a:lnTo>
                  <a:lnTo>
                    <a:pt x="70" y="38"/>
                  </a:lnTo>
                  <a:lnTo>
                    <a:pt x="70" y="52"/>
                  </a:lnTo>
                  <a:lnTo>
                    <a:pt x="70" y="65"/>
                  </a:lnTo>
                  <a:lnTo>
                    <a:pt x="58" y="69"/>
                  </a:lnTo>
                  <a:lnTo>
                    <a:pt x="55" y="74"/>
                  </a:lnTo>
                  <a:lnTo>
                    <a:pt x="55" y="84"/>
                  </a:lnTo>
                  <a:lnTo>
                    <a:pt x="56" y="96"/>
                  </a:lnTo>
                  <a:lnTo>
                    <a:pt x="43" y="96"/>
                  </a:lnTo>
                  <a:lnTo>
                    <a:pt x="31" y="96"/>
                  </a:lnTo>
                  <a:lnTo>
                    <a:pt x="17" y="96"/>
                  </a:lnTo>
                  <a:lnTo>
                    <a:pt x="4" y="96"/>
                  </a:lnTo>
                  <a:lnTo>
                    <a:pt x="0" y="101"/>
                  </a:lnTo>
                  <a:lnTo>
                    <a:pt x="2" y="91"/>
                  </a:lnTo>
                  <a:lnTo>
                    <a:pt x="4" y="84"/>
                  </a:lnTo>
                  <a:lnTo>
                    <a:pt x="7" y="82"/>
                  </a:lnTo>
                  <a:lnTo>
                    <a:pt x="12" y="72"/>
                  </a:lnTo>
                  <a:lnTo>
                    <a:pt x="12" y="70"/>
                  </a:lnTo>
                  <a:lnTo>
                    <a:pt x="19" y="58"/>
                  </a:lnTo>
                  <a:lnTo>
                    <a:pt x="31" y="41"/>
                  </a:lnTo>
                  <a:lnTo>
                    <a:pt x="34" y="26"/>
                  </a:lnTo>
                  <a:lnTo>
                    <a:pt x="39" y="21"/>
                  </a:lnTo>
                  <a:lnTo>
                    <a:pt x="48" y="16"/>
                  </a:lnTo>
                  <a:lnTo>
                    <a:pt x="51" y="9"/>
                  </a:lnTo>
                  <a:lnTo>
                    <a:pt x="55" y="0"/>
                  </a:lnTo>
                  <a:lnTo>
                    <a:pt x="70" y="0"/>
                  </a:lnTo>
                  <a:lnTo>
                    <a:pt x="85" y="0"/>
                  </a:lnTo>
                  <a:lnTo>
                    <a:pt x="101" y="0"/>
                  </a:lnTo>
                  <a:lnTo>
                    <a:pt x="114" y="0"/>
                  </a:lnTo>
                  <a:lnTo>
                    <a:pt x="116" y="9"/>
                  </a:lnTo>
                  <a:lnTo>
                    <a:pt x="114" y="28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4" name="Freeform 182">
              <a:extLst>
                <a:ext uri="{FF2B5EF4-FFF2-40B4-BE49-F238E27FC236}">
                  <a16:creationId xmlns:a16="http://schemas.microsoft.com/office/drawing/2014/main" id="{32F08AB1-1797-FB41-A2A0-376D85420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843" y="2110505"/>
              <a:ext cx="312584" cy="291619"/>
            </a:xfrm>
            <a:custGeom>
              <a:avLst/>
              <a:gdLst/>
              <a:ahLst/>
              <a:cxnLst>
                <a:cxn ang="0">
                  <a:pos x="14" y="168"/>
                </a:cxn>
                <a:cxn ang="0">
                  <a:pos x="40" y="186"/>
                </a:cxn>
                <a:cxn ang="0">
                  <a:pos x="64" y="201"/>
                </a:cxn>
                <a:cxn ang="0">
                  <a:pos x="82" y="215"/>
                </a:cxn>
                <a:cxn ang="0">
                  <a:pos x="103" y="230"/>
                </a:cxn>
                <a:cxn ang="0">
                  <a:pos x="123" y="244"/>
                </a:cxn>
                <a:cxn ang="0">
                  <a:pos x="135" y="255"/>
                </a:cxn>
                <a:cxn ang="0">
                  <a:pos x="144" y="262"/>
                </a:cxn>
                <a:cxn ang="0">
                  <a:pos x="152" y="266"/>
                </a:cxn>
                <a:cxn ang="0">
                  <a:pos x="164" y="276"/>
                </a:cxn>
                <a:cxn ang="0">
                  <a:pos x="164" y="283"/>
                </a:cxn>
                <a:cxn ang="0">
                  <a:pos x="186" y="278"/>
                </a:cxn>
                <a:cxn ang="0">
                  <a:pos x="205" y="269"/>
                </a:cxn>
                <a:cxn ang="0">
                  <a:pos x="220" y="257"/>
                </a:cxn>
                <a:cxn ang="0">
                  <a:pos x="234" y="247"/>
                </a:cxn>
                <a:cxn ang="0">
                  <a:pos x="248" y="238"/>
                </a:cxn>
                <a:cxn ang="0">
                  <a:pos x="261" y="230"/>
                </a:cxn>
                <a:cxn ang="0">
                  <a:pos x="273" y="221"/>
                </a:cxn>
                <a:cxn ang="0">
                  <a:pos x="275" y="204"/>
                </a:cxn>
                <a:cxn ang="0">
                  <a:pos x="260" y="201"/>
                </a:cxn>
                <a:cxn ang="0">
                  <a:pos x="255" y="189"/>
                </a:cxn>
                <a:cxn ang="0">
                  <a:pos x="248" y="174"/>
                </a:cxn>
                <a:cxn ang="0">
                  <a:pos x="253" y="151"/>
                </a:cxn>
                <a:cxn ang="0">
                  <a:pos x="246" y="117"/>
                </a:cxn>
                <a:cxn ang="0">
                  <a:pos x="248" y="112"/>
                </a:cxn>
                <a:cxn ang="0">
                  <a:pos x="232" y="76"/>
                </a:cxn>
                <a:cxn ang="0">
                  <a:pos x="231" y="66"/>
                </a:cxn>
                <a:cxn ang="0">
                  <a:pos x="220" y="53"/>
                </a:cxn>
                <a:cxn ang="0">
                  <a:pos x="236" y="32"/>
                </a:cxn>
                <a:cxn ang="0">
                  <a:pos x="236" y="12"/>
                </a:cxn>
                <a:cxn ang="0">
                  <a:pos x="239" y="1"/>
                </a:cxn>
                <a:cxn ang="0">
                  <a:pos x="220" y="0"/>
                </a:cxn>
                <a:cxn ang="0">
                  <a:pos x="207" y="0"/>
                </a:cxn>
                <a:cxn ang="0">
                  <a:pos x="193" y="6"/>
                </a:cxn>
                <a:cxn ang="0">
                  <a:pos x="174" y="3"/>
                </a:cxn>
                <a:cxn ang="0">
                  <a:pos x="162" y="5"/>
                </a:cxn>
                <a:cxn ang="0">
                  <a:pos x="137" y="10"/>
                </a:cxn>
                <a:cxn ang="0">
                  <a:pos x="123" y="18"/>
                </a:cxn>
                <a:cxn ang="0">
                  <a:pos x="110" y="22"/>
                </a:cxn>
                <a:cxn ang="0">
                  <a:pos x="93" y="34"/>
                </a:cxn>
                <a:cxn ang="0">
                  <a:pos x="91" y="37"/>
                </a:cxn>
                <a:cxn ang="0">
                  <a:pos x="94" y="41"/>
                </a:cxn>
                <a:cxn ang="0">
                  <a:pos x="96" y="44"/>
                </a:cxn>
                <a:cxn ang="0">
                  <a:pos x="96" y="54"/>
                </a:cxn>
                <a:cxn ang="0">
                  <a:pos x="98" y="63"/>
                </a:cxn>
                <a:cxn ang="0">
                  <a:pos x="101" y="71"/>
                </a:cxn>
                <a:cxn ang="0">
                  <a:pos x="103" y="78"/>
                </a:cxn>
                <a:cxn ang="0">
                  <a:pos x="81" y="82"/>
                </a:cxn>
                <a:cxn ang="0">
                  <a:pos x="67" y="90"/>
                </a:cxn>
                <a:cxn ang="0">
                  <a:pos x="69" y="93"/>
                </a:cxn>
                <a:cxn ang="0">
                  <a:pos x="70" y="99"/>
                </a:cxn>
                <a:cxn ang="0">
                  <a:pos x="53" y="107"/>
                </a:cxn>
                <a:cxn ang="0">
                  <a:pos x="43" y="117"/>
                </a:cxn>
                <a:cxn ang="0">
                  <a:pos x="29" y="122"/>
                </a:cxn>
                <a:cxn ang="0">
                  <a:pos x="16" y="126"/>
                </a:cxn>
                <a:cxn ang="0">
                  <a:pos x="7" y="129"/>
                </a:cxn>
                <a:cxn ang="0">
                  <a:pos x="0" y="151"/>
                </a:cxn>
              </a:cxnLst>
              <a:rect l="0" t="0" r="r" b="b"/>
              <a:pathLst>
                <a:path w="281" h="284">
                  <a:moveTo>
                    <a:pt x="2" y="160"/>
                  </a:moveTo>
                  <a:lnTo>
                    <a:pt x="14" y="168"/>
                  </a:lnTo>
                  <a:lnTo>
                    <a:pt x="28" y="177"/>
                  </a:lnTo>
                  <a:lnTo>
                    <a:pt x="40" y="186"/>
                  </a:lnTo>
                  <a:lnTo>
                    <a:pt x="52" y="194"/>
                  </a:lnTo>
                  <a:lnTo>
                    <a:pt x="64" y="201"/>
                  </a:lnTo>
                  <a:lnTo>
                    <a:pt x="72" y="208"/>
                  </a:lnTo>
                  <a:lnTo>
                    <a:pt x="82" y="215"/>
                  </a:lnTo>
                  <a:lnTo>
                    <a:pt x="93" y="223"/>
                  </a:lnTo>
                  <a:lnTo>
                    <a:pt x="103" y="230"/>
                  </a:lnTo>
                  <a:lnTo>
                    <a:pt x="113" y="237"/>
                  </a:lnTo>
                  <a:lnTo>
                    <a:pt x="123" y="244"/>
                  </a:lnTo>
                  <a:lnTo>
                    <a:pt x="133" y="250"/>
                  </a:lnTo>
                  <a:lnTo>
                    <a:pt x="135" y="255"/>
                  </a:lnTo>
                  <a:lnTo>
                    <a:pt x="142" y="259"/>
                  </a:lnTo>
                  <a:lnTo>
                    <a:pt x="144" y="262"/>
                  </a:lnTo>
                  <a:lnTo>
                    <a:pt x="151" y="264"/>
                  </a:lnTo>
                  <a:lnTo>
                    <a:pt x="152" y="266"/>
                  </a:lnTo>
                  <a:lnTo>
                    <a:pt x="162" y="269"/>
                  </a:lnTo>
                  <a:lnTo>
                    <a:pt x="164" y="276"/>
                  </a:lnTo>
                  <a:lnTo>
                    <a:pt x="162" y="281"/>
                  </a:lnTo>
                  <a:lnTo>
                    <a:pt x="164" y="283"/>
                  </a:lnTo>
                  <a:lnTo>
                    <a:pt x="176" y="279"/>
                  </a:lnTo>
                  <a:lnTo>
                    <a:pt x="186" y="278"/>
                  </a:lnTo>
                  <a:lnTo>
                    <a:pt x="197" y="274"/>
                  </a:lnTo>
                  <a:lnTo>
                    <a:pt x="205" y="269"/>
                  </a:lnTo>
                  <a:lnTo>
                    <a:pt x="212" y="262"/>
                  </a:lnTo>
                  <a:lnTo>
                    <a:pt x="220" y="257"/>
                  </a:lnTo>
                  <a:lnTo>
                    <a:pt x="229" y="250"/>
                  </a:lnTo>
                  <a:lnTo>
                    <a:pt x="234" y="247"/>
                  </a:lnTo>
                  <a:lnTo>
                    <a:pt x="241" y="242"/>
                  </a:lnTo>
                  <a:lnTo>
                    <a:pt x="248" y="238"/>
                  </a:lnTo>
                  <a:lnTo>
                    <a:pt x="255" y="233"/>
                  </a:lnTo>
                  <a:lnTo>
                    <a:pt x="261" y="230"/>
                  </a:lnTo>
                  <a:lnTo>
                    <a:pt x="268" y="225"/>
                  </a:lnTo>
                  <a:lnTo>
                    <a:pt x="273" y="221"/>
                  </a:lnTo>
                  <a:lnTo>
                    <a:pt x="280" y="216"/>
                  </a:lnTo>
                  <a:lnTo>
                    <a:pt x="275" y="204"/>
                  </a:lnTo>
                  <a:lnTo>
                    <a:pt x="267" y="201"/>
                  </a:lnTo>
                  <a:lnTo>
                    <a:pt x="260" y="201"/>
                  </a:lnTo>
                  <a:lnTo>
                    <a:pt x="256" y="196"/>
                  </a:lnTo>
                  <a:lnTo>
                    <a:pt x="255" y="189"/>
                  </a:lnTo>
                  <a:lnTo>
                    <a:pt x="248" y="175"/>
                  </a:lnTo>
                  <a:lnTo>
                    <a:pt x="248" y="174"/>
                  </a:lnTo>
                  <a:lnTo>
                    <a:pt x="253" y="172"/>
                  </a:lnTo>
                  <a:lnTo>
                    <a:pt x="253" y="151"/>
                  </a:lnTo>
                  <a:lnTo>
                    <a:pt x="251" y="128"/>
                  </a:lnTo>
                  <a:lnTo>
                    <a:pt x="246" y="117"/>
                  </a:lnTo>
                  <a:lnTo>
                    <a:pt x="246" y="114"/>
                  </a:lnTo>
                  <a:lnTo>
                    <a:pt x="248" y="112"/>
                  </a:lnTo>
                  <a:lnTo>
                    <a:pt x="244" y="83"/>
                  </a:lnTo>
                  <a:lnTo>
                    <a:pt x="232" y="76"/>
                  </a:lnTo>
                  <a:lnTo>
                    <a:pt x="232" y="73"/>
                  </a:lnTo>
                  <a:lnTo>
                    <a:pt x="231" y="66"/>
                  </a:lnTo>
                  <a:lnTo>
                    <a:pt x="224" y="64"/>
                  </a:lnTo>
                  <a:lnTo>
                    <a:pt x="220" y="53"/>
                  </a:lnTo>
                  <a:lnTo>
                    <a:pt x="232" y="42"/>
                  </a:lnTo>
                  <a:lnTo>
                    <a:pt x="236" y="32"/>
                  </a:lnTo>
                  <a:lnTo>
                    <a:pt x="234" y="22"/>
                  </a:lnTo>
                  <a:lnTo>
                    <a:pt x="236" y="12"/>
                  </a:lnTo>
                  <a:lnTo>
                    <a:pt x="232" y="10"/>
                  </a:lnTo>
                  <a:lnTo>
                    <a:pt x="239" y="1"/>
                  </a:lnTo>
                  <a:lnTo>
                    <a:pt x="227" y="3"/>
                  </a:lnTo>
                  <a:lnTo>
                    <a:pt x="220" y="0"/>
                  </a:lnTo>
                  <a:lnTo>
                    <a:pt x="215" y="3"/>
                  </a:lnTo>
                  <a:lnTo>
                    <a:pt x="207" y="0"/>
                  </a:lnTo>
                  <a:lnTo>
                    <a:pt x="205" y="3"/>
                  </a:lnTo>
                  <a:lnTo>
                    <a:pt x="193" y="6"/>
                  </a:lnTo>
                  <a:lnTo>
                    <a:pt x="188" y="3"/>
                  </a:lnTo>
                  <a:lnTo>
                    <a:pt x="174" y="3"/>
                  </a:lnTo>
                  <a:lnTo>
                    <a:pt x="168" y="5"/>
                  </a:lnTo>
                  <a:lnTo>
                    <a:pt x="162" y="5"/>
                  </a:lnTo>
                  <a:lnTo>
                    <a:pt x="157" y="8"/>
                  </a:lnTo>
                  <a:lnTo>
                    <a:pt x="137" y="10"/>
                  </a:lnTo>
                  <a:lnTo>
                    <a:pt x="125" y="15"/>
                  </a:lnTo>
                  <a:lnTo>
                    <a:pt x="123" y="18"/>
                  </a:lnTo>
                  <a:lnTo>
                    <a:pt x="122" y="20"/>
                  </a:lnTo>
                  <a:lnTo>
                    <a:pt x="110" y="22"/>
                  </a:lnTo>
                  <a:lnTo>
                    <a:pt x="101" y="30"/>
                  </a:lnTo>
                  <a:lnTo>
                    <a:pt x="93" y="34"/>
                  </a:lnTo>
                  <a:lnTo>
                    <a:pt x="91" y="35"/>
                  </a:lnTo>
                  <a:lnTo>
                    <a:pt x="91" y="37"/>
                  </a:lnTo>
                  <a:lnTo>
                    <a:pt x="96" y="39"/>
                  </a:lnTo>
                  <a:lnTo>
                    <a:pt x="94" y="41"/>
                  </a:lnTo>
                  <a:lnTo>
                    <a:pt x="96" y="42"/>
                  </a:lnTo>
                  <a:lnTo>
                    <a:pt x="96" y="44"/>
                  </a:lnTo>
                  <a:lnTo>
                    <a:pt x="96" y="49"/>
                  </a:lnTo>
                  <a:lnTo>
                    <a:pt x="96" y="54"/>
                  </a:lnTo>
                  <a:lnTo>
                    <a:pt x="98" y="58"/>
                  </a:lnTo>
                  <a:lnTo>
                    <a:pt x="98" y="63"/>
                  </a:lnTo>
                  <a:lnTo>
                    <a:pt x="99" y="68"/>
                  </a:lnTo>
                  <a:lnTo>
                    <a:pt x="101" y="71"/>
                  </a:lnTo>
                  <a:lnTo>
                    <a:pt x="106" y="75"/>
                  </a:lnTo>
                  <a:lnTo>
                    <a:pt x="103" y="78"/>
                  </a:lnTo>
                  <a:lnTo>
                    <a:pt x="104" y="82"/>
                  </a:lnTo>
                  <a:lnTo>
                    <a:pt x="81" y="82"/>
                  </a:lnTo>
                  <a:lnTo>
                    <a:pt x="79" y="87"/>
                  </a:lnTo>
                  <a:lnTo>
                    <a:pt x="67" y="90"/>
                  </a:lnTo>
                  <a:lnTo>
                    <a:pt x="67" y="92"/>
                  </a:lnTo>
                  <a:lnTo>
                    <a:pt x="69" y="93"/>
                  </a:lnTo>
                  <a:lnTo>
                    <a:pt x="67" y="97"/>
                  </a:lnTo>
                  <a:lnTo>
                    <a:pt x="70" y="99"/>
                  </a:lnTo>
                  <a:lnTo>
                    <a:pt x="70" y="100"/>
                  </a:lnTo>
                  <a:lnTo>
                    <a:pt x="53" y="107"/>
                  </a:lnTo>
                  <a:lnTo>
                    <a:pt x="48" y="114"/>
                  </a:lnTo>
                  <a:lnTo>
                    <a:pt x="43" y="117"/>
                  </a:lnTo>
                  <a:lnTo>
                    <a:pt x="29" y="119"/>
                  </a:lnTo>
                  <a:lnTo>
                    <a:pt x="29" y="122"/>
                  </a:lnTo>
                  <a:lnTo>
                    <a:pt x="23" y="121"/>
                  </a:lnTo>
                  <a:lnTo>
                    <a:pt x="16" y="126"/>
                  </a:lnTo>
                  <a:lnTo>
                    <a:pt x="12" y="126"/>
                  </a:lnTo>
                  <a:lnTo>
                    <a:pt x="7" y="129"/>
                  </a:lnTo>
                  <a:lnTo>
                    <a:pt x="0" y="134"/>
                  </a:lnTo>
                  <a:lnTo>
                    <a:pt x="0" y="151"/>
                  </a:lnTo>
                  <a:lnTo>
                    <a:pt x="2" y="16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5" name="Freeform 183">
              <a:extLst>
                <a:ext uri="{FF2B5EF4-FFF2-40B4-BE49-F238E27FC236}">
                  <a16:creationId xmlns:a16="http://schemas.microsoft.com/office/drawing/2014/main" id="{4DF4CA54-ED7A-2346-A368-411B101C6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7560" y="2309709"/>
              <a:ext cx="249177" cy="219741"/>
            </a:xfrm>
            <a:custGeom>
              <a:avLst/>
              <a:gdLst/>
              <a:ahLst/>
              <a:cxnLst>
                <a:cxn ang="0">
                  <a:pos x="44" y="138"/>
                </a:cxn>
                <a:cxn ang="0">
                  <a:pos x="75" y="138"/>
                </a:cxn>
                <a:cxn ang="0">
                  <a:pos x="93" y="126"/>
                </a:cxn>
                <a:cxn ang="0">
                  <a:pos x="87" y="109"/>
                </a:cxn>
                <a:cxn ang="0">
                  <a:pos x="83" y="78"/>
                </a:cxn>
                <a:cxn ang="0">
                  <a:pos x="80" y="48"/>
                </a:cxn>
                <a:cxn ang="0">
                  <a:pos x="76" y="15"/>
                </a:cxn>
                <a:cxn ang="0">
                  <a:pos x="87" y="0"/>
                </a:cxn>
                <a:cxn ang="0">
                  <a:pos x="111" y="7"/>
                </a:cxn>
                <a:cxn ang="0">
                  <a:pos x="129" y="21"/>
                </a:cxn>
                <a:cxn ang="0">
                  <a:pos x="150" y="36"/>
                </a:cxn>
                <a:cxn ang="0">
                  <a:pos x="170" y="50"/>
                </a:cxn>
                <a:cxn ang="0">
                  <a:pos x="182" y="61"/>
                </a:cxn>
                <a:cxn ang="0">
                  <a:pos x="191" y="68"/>
                </a:cxn>
                <a:cxn ang="0">
                  <a:pos x="199" y="72"/>
                </a:cxn>
                <a:cxn ang="0">
                  <a:pos x="211" y="82"/>
                </a:cxn>
                <a:cxn ang="0">
                  <a:pos x="211" y="89"/>
                </a:cxn>
                <a:cxn ang="0">
                  <a:pos x="223" y="97"/>
                </a:cxn>
                <a:cxn ang="0">
                  <a:pos x="223" y="119"/>
                </a:cxn>
                <a:cxn ang="0">
                  <a:pos x="220" y="131"/>
                </a:cxn>
                <a:cxn ang="0">
                  <a:pos x="199" y="140"/>
                </a:cxn>
                <a:cxn ang="0">
                  <a:pos x="179" y="145"/>
                </a:cxn>
                <a:cxn ang="0">
                  <a:pos x="155" y="148"/>
                </a:cxn>
                <a:cxn ang="0">
                  <a:pos x="112" y="171"/>
                </a:cxn>
                <a:cxn ang="0">
                  <a:pos x="97" y="194"/>
                </a:cxn>
                <a:cxn ang="0">
                  <a:pos x="95" y="211"/>
                </a:cxn>
                <a:cxn ang="0">
                  <a:pos x="90" y="210"/>
                </a:cxn>
                <a:cxn ang="0">
                  <a:pos x="83" y="211"/>
                </a:cxn>
                <a:cxn ang="0">
                  <a:pos x="80" y="205"/>
                </a:cxn>
                <a:cxn ang="0">
                  <a:pos x="78" y="208"/>
                </a:cxn>
                <a:cxn ang="0">
                  <a:pos x="75" y="210"/>
                </a:cxn>
                <a:cxn ang="0">
                  <a:pos x="70" y="213"/>
                </a:cxn>
                <a:cxn ang="0">
                  <a:pos x="64" y="211"/>
                </a:cxn>
                <a:cxn ang="0">
                  <a:pos x="56" y="213"/>
                </a:cxn>
                <a:cxn ang="0">
                  <a:pos x="51" y="201"/>
                </a:cxn>
                <a:cxn ang="0">
                  <a:pos x="47" y="203"/>
                </a:cxn>
                <a:cxn ang="0">
                  <a:pos x="51" y="198"/>
                </a:cxn>
                <a:cxn ang="0">
                  <a:pos x="47" y="194"/>
                </a:cxn>
                <a:cxn ang="0">
                  <a:pos x="46" y="193"/>
                </a:cxn>
                <a:cxn ang="0">
                  <a:pos x="44" y="184"/>
                </a:cxn>
                <a:cxn ang="0">
                  <a:pos x="42" y="181"/>
                </a:cxn>
                <a:cxn ang="0">
                  <a:pos x="37" y="183"/>
                </a:cxn>
                <a:cxn ang="0">
                  <a:pos x="32" y="188"/>
                </a:cxn>
                <a:cxn ang="0">
                  <a:pos x="20" y="188"/>
                </a:cxn>
                <a:cxn ang="0">
                  <a:pos x="12" y="188"/>
                </a:cxn>
                <a:cxn ang="0">
                  <a:pos x="8" y="186"/>
                </a:cxn>
                <a:cxn ang="0">
                  <a:pos x="12" y="174"/>
                </a:cxn>
                <a:cxn ang="0">
                  <a:pos x="3" y="167"/>
                </a:cxn>
                <a:cxn ang="0">
                  <a:pos x="3" y="160"/>
                </a:cxn>
                <a:cxn ang="0">
                  <a:pos x="0" y="154"/>
                </a:cxn>
                <a:cxn ang="0">
                  <a:pos x="5" y="143"/>
                </a:cxn>
                <a:cxn ang="0">
                  <a:pos x="13" y="135"/>
                </a:cxn>
                <a:cxn ang="0">
                  <a:pos x="20" y="143"/>
                </a:cxn>
              </a:cxnLst>
              <a:rect l="0" t="0" r="r" b="b"/>
              <a:pathLst>
                <a:path w="224" h="214">
                  <a:moveTo>
                    <a:pt x="27" y="138"/>
                  </a:moveTo>
                  <a:lnTo>
                    <a:pt x="44" y="138"/>
                  </a:lnTo>
                  <a:lnTo>
                    <a:pt x="59" y="138"/>
                  </a:lnTo>
                  <a:lnTo>
                    <a:pt x="75" y="138"/>
                  </a:lnTo>
                  <a:lnTo>
                    <a:pt x="90" y="138"/>
                  </a:lnTo>
                  <a:lnTo>
                    <a:pt x="93" y="126"/>
                  </a:lnTo>
                  <a:lnTo>
                    <a:pt x="88" y="125"/>
                  </a:lnTo>
                  <a:lnTo>
                    <a:pt x="87" y="109"/>
                  </a:lnTo>
                  <a:lnTo>
                    <a:pt x="85" y="94"/>
                  </a:lnTo>
                  <a:lnTo>
                    <a:pt x="83" y="78"/>
                  </a:lnTo>
                  <a:lnTo>
                    <a:pt x="82" y="63"/>
                  </a:lnTo>
                  <a:lnTo>
                    <a:pt x="80" y="48"/>
                  </a:lnTo>
                  <a:lnTo>
                    <a:pt x="78" y="32"/>
                  </a:lnTo>
                  <a:lnTo>
                    <a:pt x="76" y="15"/>
                  </a:lnTo>
                  <a:lnTo>
                    <a:pt x="75" y="0"/>
                  </a:lnTo>
                  <a:lnTo>
                    <a:pt x="87" y="0"/>
                  </a:lnTo>
                  <a:lnTo>
                    <a:pt x="99" y="0"/>
                  </a:lnTo>
                  <a:lnTo>
                    <a:pt x="111" y="7"/>
                  </a:lnTo>
                  <a:lnTo>
                    <a:pt x="119" y="14"/>
                  </a:lnTo>
                  <a:lnTo>
                    <a:pt x="129" y="21"/>
                  </a:lnTo>
                  <a:lnTo>
                    <a:pt x="140" y="29"/>
                  </a:lnTo>
                  <a:lnTo>
                    <a:pt x="150" y="36"/>
                  </a:lnTo>
                  <a:lnTo>
                    <a:pt x="160" y="43"/>
                  </a:lnTo>
                  <a:lnTo>
                    <a:pt x="170" y="50"/>
                  </a:lnTo>
                  <a:lnTo>
                    <a:pt x="180" y="56"/>
                  </a:lnTo>
                  <a:lnTo>
                    <a:pt x="182" y="61"/>
                  </a:lnTo>
                  <a:lnTo>
                    <a:pt x="189" y="65"/>
                  </a:lnTo>
                  <a:lnTo>
                    <a:pt x="191" y="68"/>
                  </a:lnTo>
                  <a:lnTo>
                    <a:pt x="198" y="70"/>
                  </a:lnTo>
                  <a:lnTo>
                    <a:pt x="199" y="72"/>
                  </a:lnTo>
                  <a:lnTo>
                    <a:pt x="209" y="75"/>
                  </a:lnTo>
                  <a:lnTo>
                    <a:pt x="211" y="82"/>
                  </a:lnTo>
                  <a:lnTo>
                    <a:pt x="209" y="87"/>
                  </a:lnTo>
                  <a:lnTo>
                    <a:pt x="211" y="89"/>
                  </a:lnTo>
                  <a:lnTo>
                    <a:pt x="223" y="85"/>
                  </a:lnTo>
                  <a:lnTo>
                    <a:pt x="223" y="97"/>
                  </a:lnTo>
                  <a:lnTo>
                    <a:pt x="223" y="107"/>
                  </a:lnTo>
                  <a:lnTo>
                    <a:pt x="223" y="119"/>
                  </a:lnTo>
                  <a:lnTo>
                    <a:pt x="223" y="131"/>
                  </a:lnTo>
                  <a:lnTo>
                    <a:pt x="220" y="131"/>
                  </a:lnTo>
                  <a:lnTo>
                    <a:pt x="215" y="140"/>
                  </a:lnTo>
                  <a:lnTo>
                    <a:pt x="199" y="140"/>
                  </a:lnTo>
                  <a:lnTo>
                    <a:pt x="184" y="140"/>
                  </a:lnTo>
                  <a:lnTo>
                    <a:pt x="179" y="145"/>
                  </a:lnTo>
                  <a:lnTo>
                    <a:pt x="169" y="145"/>
                  </a:lnTo>
                  <a:lnTo>
                    <a:pt x="155" y="148"/>
                  </a:lnTo>
                  <a:lnTo>
                    <a:pt x="133" y="165"/>
                  </a:lnTo>
                  <a:lnTo>
                    <a:pt x="112" y="171"/>
                  </a:lnTo>
                  <a:lnTo>
                    <a:pt x="107" y="184"/>
                  </a:lnTo>
                  <a:lnTo>
                    <a:pt x="97" y="194"/>
                  </a:lnTo>
                  <a:lnTo>
                    <a:pt x="95" y="201"/>
                  </a:lnTo>
                  <a:lnTo>
                    <a:pt x="95" y="211"/>
                  </a:lnTo>
                  <a:lnTo>
                    <a:pt x="92" y="211"/>
                  </a:lnTo>
                  <a:lnTo>
                    <a:pt x="90" y="210"/>
                  </a:lnTo>
                  <a:lnTo>
                    <a:pt x="87" y="210"/>
                  </a:lnTo>
                  <a:lnTo>
                    <a:pt x="83" y="211"/>
                  </a:lnTo>
                  <a:lnTo>
                    <a:pt x="82" y="211"/>
                  </a:lnTo>
                  <a:lnTo>
                    <a:pt x="80" y="205"/>
                  </a:lnTo>
                  <a:lnTo>
                    <a:pt x="78" y="205"/>
                  </a:lnTo>
                  <a:lnTo>
                    <a:pt x="78" y="208"/>
                  </a:lnTo>
                  <a:lnTo>
                    <a:pt x="75" y="206"/>
                  </a:lnTo>
                  <a:lnTo>
                    <a:pt x="75" y="210"/>
                  </a:lnTo>
                  <a:lnTo>
                    <a:pt x="70" y="211"/>
                  </a:lnTo>
                  <a:lnTo>
                    <a:pt x="70" y="213"/>
                  </a:lnTo>
                  <a:lnTo>
                    <a:pt x="66" y="211"/>
                  </a:lnTo>
                  <a:lnTo>
                    <a:pt x="64" y="211"/>
                  </a:lnTo>
                  <a:lnTo>
                    <a:pt x="63" y="208"/>
                  </a:lnTo>
                  <a:lnTo>
                    <a:pt x="56" y="213"/>
                  </a:lnTo>
                  <a:lnTo>
                    <a:pt x="53" y="208"/>
                  </a:lnTo>
                  <a:lnTo>
                    <a:pt x="51" y="201"/>
                  </a:lnTo>
                  <a:lnTo>
                    <a:pt x="49" y="201"/>
                  </a:lnTo>
                  <a:lnTo>
                    <a:pt x="47" y="203"/>
                  </a:lnTo>
                  <a:lnTo>
                    <a:pt x="47" y="200"/>
                  </a:lnTo>
                  <a:lnTo>
                    <a:pt x="51" y="198"/>
                  </a:lnTo>
                  <a:lnTo>
                    <a:pt x="51" y="196"/>
                  </a:lnTo>
                  <a:lnTo>
                    <a:pt x="47" y="194"/>
                  </a:lnTo>
                  <a:lnTo>
                    <a:pt x="47" y="191"/>
                  </a:lnTo>
                  <a:lnTo>
                    <a:pt x="46" y="193"/>
                  </a:lnTo>
                  <a:lnTo>
                    <a:pt x="46" y="188"/>
                  </a:lnTo>
                  <a:lnTo>
                    <a:pt x="44" y="184"/>
                  </a:lnTo>
                  <a:lnTo>
                    <a:pt x="42" y="184"/>
                  </a:lnTo>
                  <a:lnTo>
                    <a:pt x="42" y="181"/>
                  </a:lnTo>
                  <a:lnTo>
                    <a:pt x="37" y="181"/>
                  </a:lnTo>
                  <a:lnTo>
                    <a:pt x="37" y="183"/>
                  </a:lnTo>
                  <a:lnTo>
                    <a:pt x="34" y="184"/>
                  </a:lnTo>
                  <a:lnTo>
                    <a:pt x="32" y="188"/>
                  </a:lnTo>
                  <a:lnTo>
                    <a:pt x="25" y="184"/>
                  </a:lnTo>
                  <a:lnTo>
                    <a:pt x="20" y="188"/>
                  </a:lnTo>
                  <a:lnTo>
                    <a:pt x="17" y="184"/>
                  </a:lnTo>
                  <a:lnTo>
                    <a:pt x="12" y="188"/>
                  </a:lnTo>
                  <a:lnTo>
                    <a:pt x="10" y="186"/>
                  </a:lnTo>
                  <a:lnTo>
                    <a:pt x="8" y="186"/>
                  </a:lnTo>
                  <a:lnTo>
                    <a:pt x="12" y="181"/>
                  </a:lnTo>
                  <a:lnTo>
                    <a:pt x="12" y="174"/>
                  </a:lnTo>
                  <a:lnTo>
                    <a:pt x="8" y="167"/>
                  </a:lnTo>
                  <a:lnTo>
                    <a:pt x="3" y="167"/>
                  </a:lnTo>
                  <a:lnTo>
                    <a:pt x="1" y="164"/>
                  </a:lnTo>
                  <a:lnTo>
                    <a:pt x="3" y="160"/>
                  </a:lnTo>
                  <a:lnTo>
                    <a:pt x="1" y="155"/>
                  </a:lnTo>
                  <a:lnTo>
                    <a:pt x="0" y="154"/>
                  </a:lnTo>
                  <a:lnTo>
                    <a:pt x="0" y="148"/>
                  </a:lnTo>
                  <a:lnTo>
                    <a:pt x="5" y="143"/>
                  </a:lnTo>
                  <a:lnTo>
                    <a:pt x="10" y="133"/>
                  </a:lnTo>
                  <a:lnTo>
                    <a:pt x="13" y="135"/>
                  </a:lnTo>
                  <a:lnTo>
                    <a:pt x="17" y="142"/>
                  </a:lnTo>
                  <a:lnTo>
                    <a:pt x="20" y="143"/>
                  </a:lnTo>
                  <a:lnTo>
                    <a:pt x="27" y="138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6" name="Freeform 184">
              <a:extLst>
                <a:ext uri="{FF2B5EF4-FFF2-40B4-BE49-F238E27FC236}">
                  <a16:creationId xmlns:a16="http://schemas.microsoft.com/office/drawing/2014/main" id="{F79F8191-8FE9-6A4E-A984-490E5EF5A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3238" y="2458599"/>
              <a:ext cx="116802" cy="80093"/>
            </a:xfrm>
            <a:custGeom>
              <a:avLst/>
              <a:gdLst/>
              <a:ahLst/>
              <a:cxnLst>
                <a:cxn ang="0">
                  <a:pos x="36" y="77"/>
                </a:cxn>
                <a:cxn ang="0">
                  <a:pos x="34" y="66"/>
                </a:cxn>
                <a:cxn ang="0">
                  <a:pos x="31" y="61"/>
                </a:cxn>
                <a:cxn ang="0">
                  <a:pos x="33" y="56"/>
                </a:cxn>
                <a:cxn ang="0">
                  <a:pos x="60" y="58"/>
                </a:cxn>
                <a:cxn ang="0">
                  <a:pos x="70" y="56"/>
                </a:cxn>
                <a:cxn ang="0">
                  <a:pos x="75" y="58"/>
                </a:cxn>
                <a:cxn ang="0">
                  <a:pos x="79" y="58"/>
                </a:cxn>
                <a:cxn ang="0">
                  <a:pos x="84" y="56"/>
                </a:cxn>
                <a:cxn ang="0">
                  <a:pos x="91" y="49"/>
                </a:cxn>
                <a:cxn ang="0">
                  <a:pos x="99" y="49"/>
                </a:cxn>
                <a:cxn ang="0">
                  <a:pos x="104" y="43"/>
                </a:cxn>
                <a:cxn ang="0">
                  <a:pos x="101" y="39"/>
                </a:cxn>
                <a:cxn ang="0">
                  <a:pos x="101" y="38"/>
                </a:cxn>
                <a:cxn ang="0">
                  <a:pos x="103" y="36"/>
                </a:cxn>
                <a:cxn ang="0">
                  <a:pos x="101" y="32"/>
                </a:cxn>
                <a:cxn ang="0">
                  <a:pos x="97" y="32"/>
                </a:cxn>
                <a:cxn ang="0">
                  <a:pos x="94" y="34"/>
                </a:cxn>
                <a:cxn ang="0">
                  <a:pos x="91" y="32"/>
                </a:cxn>
                <a:cxn ang="0">
                  <a:pos x="84" y="22"/>
                </a:cxn>
                <a:cxn ang="0">
                  <a:pos x="75" y="15"/>
                </a:cxn>
                <a:cxn ang="0">
                  <a:pos x="75" y="10"/>
                </a:cxn>
                <a:cxn ang="0">
                  <a:pos x="72" y="7"/>
                </a:cxn>
                <a:cxn ang="0">
                  <a:pos x="74" y="0"/>
                </a:cxn>
                <a:cxn ang="0">
                  <a:pos x="60" y="3"/>
                </a:cxn>
                <a:cxn ang="0">
                  <a:pos x="38" y="20"/>
                </a:cxn>
                <a:cxn ang="0">
                  <a:pos x="17" y="26"/>
                </a:cxn>
                <a:cxn ang="0">
                  <a:pos x="12" y="39"/>
                </a:cxn>
                <a:cxn ang="0">
                  <a:pos x="2" y="49"/>
                </a:cxn>
                <a:cxn ang="0">
                  <a:pos x="0" y="56"/>
                </a:cxn>
                <a:cxn ang="0">
                  <a:pos x="0" y="66"/>
                </a:cxn>
                <a:cxn ang="0">
                  <a:pos x="4" y="72"/>
                </a:cxn>
                <a:cxn ang="0">
                  <a:pos x="7" y="75"/>
                </a:cxn>
                <a:cxn ang="0">
                  <a:pos x="9" y="73"/>
                </a:cxn>
                <a:cxn ang="0">
                  <a:pos x="12" y="75"/>
                </a:cxn>
                <a:cxn ang="0">
                  <a:pos x="12" y="73"/>
                </a:cxn>
                <a:cxn ang="0">
                  <a:pos x="22" y="70"/>
                </a:cxn>
                <a:cxn ang="0">
                  <a:pos x="26" y="72"/>
                </a:cxn>
                <a:cxn ang="0">
                  <a:pos x="27" y="70"/>
                </a:cxn>
                <a:cxn ang="0">
                  <a:pos x="33" y="77"/>
                </a:cxn>
                <a:cxn ang="0">
                  <a:pos x="36" y="77"/>
                </a:cxn>
              </a:cxnLst>
              <a:rect l="0" t="0" r="r" b="b"/>
              <a:pathLst>
                <a:path w="105" h="78">
                  <a:moveTo>
                    <a:pt x="36" y="77"/>
                  </a:moveTo>
                  <a:lnTo>
                    <a:pt x="34" y="66"/>
                  </a:lnTo>
                  <a:lnTo>
                    <a:pt x="31" y="61"/>
                  </a:lnTo>
                  <a:lnTo>
                    <a:pt x="33" y="56"/>
                  </a:lnTo>
                  <a:lnTo>
                    <a:pt x="60" y="58"/>
                  </a:lnTo>
                  <a:lnTo>
                    <a:pt x="70" y="56"/>
                  </a:lnTo>
                  <a:lnTo>
                    <a:pt x="75" y="58"/>
                  </a:lnTo>
                  <a:lnTo>
                    <a:pt x="79" y="58"/>
                  </a:lnTo>
                  <a:lnTo>
                    <a:pt x="84" y="56"/>
                  </a:lnTo>
                  <a:lnTo>
                    <a:pt x="91" y="49"/>
                  </a:lnTo>
                  <a:lnTo>
                    <a:pt x="99" y="49"/>
                  </a:lnTo>
                  <a:lnTo>
                    <a:pt x="104" y="43"/>
                  </a:lnTo>
                  <a:lnTo>
                    <a:pt x="101" y="39"/>
                  </a:lnTo>
                  <a:lnTo>
                    <a:pt x="101" y="38"/>
                  </a:lnTo>
                  <a:lnTo>
                    <a:pt x="103" y="36"/>
                  </a:lnTo>
                  <a:lnTo>
                    <a:pt x="101" y="32"/>
                  </a:lnTo>
                  <a:lnTo>
                    <a:pt x="97" y="32"/>
                  </a:lnTo>
                  <a:lnTo>
                    <a:pt x="94" y="34"/>
                  </a:lnTo>
                  <a:lnTo>
                    <a:pt x="91" y="32"/>
                  </a:lnTo>
                  <a:lnTo>
                    <a:pt x="84" y="22"/>
                  </a:lnTo>
                  <a:lnTo>
                    <a:pt x="75" y="15"/>
                  </a:lnTo>
                  <a:lnTo>
                    <a:pt x="75" y="10"/>
                  </a:lnTo>
                  <a:lnTo>
                    <a:pt x="72" y="7"/>
                  </a:lnTo>
                  <a:lnTo>
                    <a:pt x="74" y="0"/>
                  </a:lnTo>
                  <a:lnTo>
                    <a:pt x="60" y="3"/>
                  </a:lnTo>
                  <a:lnTo>
                    <a:pt x="38" y="20"/>
                  </a:lnTo>
                  <a:lnTo>
                    <a:pt x="17" y="26"/>
                  </a:lnTo>
                  <a:lnTo>
                    <a:pt x="12" y="39"/>
                  </a:lnTo>
                  <a:lnTo>
                    <a:pt x="2" y="49"/>
                  </a:lnTo>
                  <a:lnTo>
                    <a:pt x="0" y="56"/>
                  </a:lnTo>
                  <a:lnTo>
                    <a:pt x="0" y="66"/>
                  </a:lnTo>
                  <a:lnTo>
                    <a:pt x="4" y="72"/>
                  </a:lnTo>
                  <a:lnTo>
                    <a:pt x="7" y="75"/>
                  </a:lnTo>
                  <a:lnTo>
                    <a:pt x="9" y="73"/>
                  </a:lnTo>
                  <a:lnTo>
                    <a:pt x="12" y="75"/>
                  </a:lnTo>
                  <a:lnTo>
                    <a:pt x="12" y="73"/>
                  </a:lnTo>
                  <a:lnTo>
                    <a:pt x="22" y="70"/>
                  </a:lnTo>
                  <a:lnTo>
                    <a:pt x="26" y="72"/>
                  </a:lnTo>
                  <a:lnTo>
                    <a:pt x="27" y="70"/>
                  </a:lnTo>
                  <a:lnTo>
                    <a:pt x="33" y="77"/>
                  </a:lnTo>
                  <a:lnTo>
                    <a:pt x="36" y="77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7" name="Freeform 185">
              <a:extLst>
                <a:ext uri="{FF2B5EF4-FFF2-40B4-BE49-F238E27FC236}">
                  <a16:creationId xmlns:a16="http://schemas.microsoft.com/office/drawing/2014/main" id="{8A353230-4CCA-3645-B4A9-56B1ACC94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8300" y="2614677"/>
              <a:ext cx="83429" cy="78039"/>
            </a:xfrm>
            <a:custGeom>
              <a:avLst/>
              <a:gdLst/>
              <a:ahLst/>
              <a:cxnLst>
                <a:cxn ang="0">
                  <a:pos x="11" y="39"/>
                </a:cxn>
                <a:cxn ang="0">
                  <a:pos x="11" y="41"/>
                </a:cxn>
                <a:cxn ang="0">
                  <a:pos x="14" y="42"/>
                </a:cxn>
                <a:cxn ang="0">
                  <a:pos x="17" y="36"/>
                </a:cxn>
                <a:cxn ang="0">
                  <a:pos x="22" y="34"/>
                </a:cxn>
                <a:cxn ang="0">
                  <a:pos x="24" y="30"/>
                </a:cxn>
                <a:cxn ang="0">
                  <a:pos x="22" y="27"/>
                </a:cxn>
                <a:cxn ang="0">
                  <a:pos x="22" y="25"/>
                </a:cxn>
                <a:cxn ang="0">
                  <a:pos x="17" y="24"/>
                </a:cxn>
                <a:cxn ang="0">
                  <a:pos x="16" y="20"/>
                </a:cxn>
                <a:cxn ang="0">
                  <a:pos x="17" y="7"/>
                </a:cxn>
                <a:cxn ang="0">
                  <a:pos x="19" y="5"/>
                </a:cxn>
                <a:cxn ang="0">
                  <a:pos x="31" y="5"/>
                </a:cxn>
                <a:cxn ang="0">
                  <a:pos x="33" y="7"/>
                </a:cxn>
                <a:cxn ang="0">
                  <a:pos x="43" y="5"/>
                </a:cxn>
                <a:cxn ang="0">
                  <a:pos x="51" y="5"/>
                </a:cxn>
                <a:cxn ang="0">
                  <a:pos x="58" y="0"/>
                </a:cxn>
                <a:cxn ang="0">
                  <a:pos x="63" y="3"/>
                </a:cxn>
                <a:cxn ang="0">
                  <a:pos x="67" y="13"/>
                </a:cxn>
                <a:cxn ang="0">
                  <a:pos x="72" y="19"/>
                </a:cxn>
                <a:cxn ang="0">
                  <a:pos x="74" y="27"/>
                </a:cxn>
                <a:cxn ang="0">
                  <a:pos x="72" y="36"/>
                </a:cxn>
                <a:cxn ang="0">
                  <a:pos x="58" y="53"/>
                </a:cxn>
                <a:cxn ang="0">
                  <a:pos x="58" y="54"/>
                </a:cxn>
                <a:cxn ang="0">
                  <a:pos x="57" y="53"/>
                </a:cxn>
                <a:cxn ang="0">
                  <a:pos x="55" y="54"/>
                </a:cxn>
                <a:cxn ang="0">
                  <a:pos x="51" y="53"/>
                </a:cxn>
                <a:cxn ang="0">
                  <a:pos x="50" y="51"/>
                </a:cxn>
                <a:cxn ang="0">
                  <a:pos x="46" y="56"/>
                </a:cxn>
                <a:cxn ang="0">
                  <a:pos x="45" y="54"/>
                </a:cxn>
                <a:cxn ang="0">
                  <a:pos x="41" y="54"/>
                </a:cxn>
                <a:cxn ang="0">
                  <a:pos x="40" y="54"/>
                </a:cxn>
                <a:cxn ang="0">
                  <a:pos x="40" y="56"/>
                </a:cxn>
                <a:cxn ang="0">
                  <a:pos x="38" y="54"/>
                </a:cxn>
                <a:cxn ang="0">
                  <a:pos x="36" y="56"/>
                </a:cxn>
                <a:cxn ang="0">
                  <a:pos x="33" y="58"/>
                </a:cxn>
                <a:cxn ang="0">
                  <a:pos x="31" y="58"/>
                </a:cxn>
                <a:cxn ang="0">
                  <a:pos x="31" y="59"/>
                </a:cxn>
                <a:cxn ang="0">
                  <a:pos x="31" y="61"/>
                </a:cxn>
                <a:cxn ang="0">
                  <a:pos x="28" y="68"/>
                </a:cxn>
                <a:cxn ang="0">
                  <a:pos x="29" y="70"/>
                </a:cxn>
                <a:cxn ang="0">
                  <a:pos x="11" y="70"/>
                </a:cxn>
                <a:cxn ang="0">
                  <a:pos x="7" y="71"/>
                </a:cxn>
                <a:cxn ang="0">
                  <a:pos x="5" y="75"/>
                </a:cxn>
                <a:cxn ang="0">
                  <a:pos x="0" y="73"/>
                </a:cxn>
                <a:cxn ang="0">
                  <a:pos x="0" y="61"/>
                </a:cxn>
                <a:cxn ang="0">
                  <a:pos x="2" y="58"/>
                </a:cxn>
                <a:cxn ang="0">
                  <a:pos x="4" y="51"/>
                </a:cxn>
                <a:cxn ang="0">
                  <a:pos x="11" y="39"/>
                </a:cxn>
              </a:cxnLst>
              <a:rect l="0" t="0" r="r" b="b"/>
              <a:pathLst>
                <a:path w="75" h="76">
                  <a:moveTo>
                    <a:pt x="11" y="39"/>
                  </a:moveTo>
                  <a:lnTo>
                    <a:pt x="11" y="41"/>
                  </a:lnTo>
                  <a:lnTo>
                    <a:pt x="14" y="42"/>
                  </a:lnTo>
                  <a:lnTo>
                    <a:pt x="17" y="36"/>
                  </a:lnTo>
                  <a:lnTo>
                    <a:pt x="22" y="34"/>
                  </a:lnTo>
                  <a:lnTo>
                    <a:pt x="24" y="30"/>
                  </a:lnTo>
                  <a:lnTo>
                    <a:pt x="22" y="27"/>
                  </a:lnTo>
                  <a:lnTo>
                    <a:pt x="22" y="25"/>
                  </a:lnTo>
                  <a:lnTo>
                    <a:pt x="17" y="24"/>
                  </a:lnTo>
                  <a:lnTo>
                    <a:pt x="16" y="20"/>
                  </a:lnTo>
                  <a:lnTo>
                    <a:pt x="17" y="7"/>
                  </a:lnTo>
                  <a:lnTo>
                    <a:pt x="19" y="5"/>
                  </a:lnTo>
                  <a:lnTo>
                    <a:pt x="31" y="5"/>
                  </a:lnTo>
                  <a:lnTo>
                    <a:pt x="33" y="7"/>
                  </a:lnTo>
                  <a:lnTo>
                    <a:pt x="43" y="5"/>
                  </a:lnTo>
                  <a:lnTo>
                    <a:pt x="51" y="5"/>
                  </a:lnTo>
                  <a:lnTo>
                    <a:pt x="58" y="0"/>
                  </a:lnTo>
                  <a:lnTo>
                    <a:pt x="63" y="3"/>
                  </a:lnTo>
                  <a:lnTo>
                    <a:pt x="67" y="13"/>
                  </a:lnTo>
                  <a:lnTo>
                    <a:pt x="72" y="19"/>
                  </a:lnTo>
                  <a:lnTo>
                    <a:pt x="74" y="27"/>
                  </a:lnTo>
                  <a:lnTo>
                    <a:pt x="72" y="36"/>
                  </a:lnTo>
                  <a:lnTo>
                    <a:pt x="58" y="53"/>
                  </a:lnTo>
                  <a:lnTo>
                    <a:pt x="58" y="54"/>
                  </a:lnTo>
                  <a:lnTo>
                    <a:pt x="57" y="53"/>
                  </a:lnTo>
                  <a:lnTo>
                    <a:pt x="55" y="54"/>
                  </a:lnTo>
                  <a:lnTo>
                    <a:pt x="51" y="53"/>
                  </a:lnTo>
                  <a:lnTo>
                    <a:pt x="50" y="51"/>
                  </a:lnTo>
                  <a:lnTo>
                    <a:pt x="46" y="56"/>
                  </a:lnTo>
                  <a:lnTo>
                    <a:pt x="45" y="54"/>
                  </a:lnTo>
                  <a:lnTo>
                    <a:pt x="41" y="54"/>
                  </a:lnTo>
                  <a:lnTo>
                    <a:pt x="40" y="54"/>
                  </a:lnTo>
                  <a:lnTo>
                    <a:pt x="40" y="56"/>
                  </a:lnTo>
                  <a:lnTo>
                    <a:pt x="38" y="54"/>
                  </a:lnTo>
                  <a:lnTo>
                    <a:pt x="36" y="56"/>
                  </a:lnTo>
                  <a:lnTo>
                    <a:pt x="33" y="58"/>
                  </a:lnTo>
                  <a:lnTo>
                    <a:pt x="31" y="58"/>
                  </a:lnTo>
                  <a:lnTo>
                    <a:pt x="31" y="59"/>
                  </a:lnTo>
                  <a:lnTo>
                    <a:pt x="31" y="61"/>
                  </a:lnTo>
                  <a:lnTo>
                    <a:pt x="28" y="68"/>
                  </a:lnTo>
                  <a:lnTo>
                    <a:pt x="29" y="70"/>
                  </a:lnTo>
                  <a:lnTo>
                    <a:pt x="11" y="70"/>
                  </a:lnTo>
                  <a:lnTo>
                    <a:pt x="7" y="71"/>
                  </a:lnTo>
                  <a:lnTo>
                    <a:pt x="5" y="75"/>
                  </a:lnTo>
                  <a:lnTo>
                    <a:pt x="0" y="73"/>
                  </a:lnTo>
                  <a:lnTo>
                    <a:pt x="0" y="61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11" y="39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8" name="Freeform 186">
              <a:extLst>
                <a:ext uri="{FF2B5EF4-FFF2-40B4-BE49-F238E27FC236}">
                  <a16:creationId xmlns:a16="http://schemas.microsoft.com/office/drawing/2014/main" id="{C13A0A38-94F1-D24D-9C4E-67664F8D7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7050" y="2339487"/>
              <a:ext cx="255851" cy="283404"/>
            </a:xfrm>
            <a:custGeom>
              <a:avLst/>
              <a:gdLst/>
              <a:ahLst/>
              <a:cxnLst>
                <a:cxn ang="0">
                  <a:pos x="31" y="65"/>
                </a:cxn>
                <a:cxn ang="0">
                  <a:pos x="31" y="92"/>
                </a:cxn>
                <a:cxn ang="0">
                  <a:pos x="15" y="107"/>
                </a:cxn>
                <a:cxn ang="0">
                  <a:pos x="7" y="123"/>
                </a:cxn>
                <a:cxn ang="0">
                  <a:pos x="4" y="133"/>
                </a:cxn>
                <a:cxn ang="0">
                  <a:pos x="2" y="145"/>
                </a:cxn>
                <a:cxn ang="0">
                  <a:pos x="7" y="147"/>
                </a:cxn>
                <a:cxn ang="0">
                  <a:pos x="15" y="169"/>
                </a:cxn>
                <a:cxn ang="0">
                  <a:pos x="12" y="172"/>
                </a:cxn>
                <a:cxn ang="0">
                  <a:pos x="24" y="189"/>
                </a:cxn>
                <a:cxn ang="0">
                  <a:pos x="26" y="205"/>
                </a:cxn>
                <a:cxn ang="0">
                  <a:pos x="33" y="210"/>
                </a:cxn>
                <a:cxn ang="0">
                  <a:pos x="46" y="213"/>
                </a:cxn>
                <a:cxn ang="0">
                  <a:pos x="62" y="230"/>
                </a:cxn>
                <a:cxn ang="0">
                  <a:pos x="77" y="246"/>
                </a:cxn>
                <a:cxn ang="0">
                  <a:pos x="87" y="263"/>
                </a:cxn>
                <a:cxn ang="0">
                  <a:pos x="96" y="263"/>
                </a:cxn>
                <a:cxn ang="0">
                  <a:pos x="108" y="261"/>
                </a:cxn>
                <a:cxn ang="0">
                  <a:pos x="126" y="275"/>
                </a:cxn>
                <a:cxn ang="0">
                  <a:pos x="140" y="273"/>
                </a:cxn>
                <a:cxn ang="0">
                  <a:pos x="152" y="273"/>
                </a:cxn>
                <a:cxn ang="0">
                  <a:pos x="167" y="268"/>
                </a:cxn>
                <a:cxn ang="0">
                  <a:pos x="193" y="261"/>
                </a:cxn>
                <a:cxn ang="0">
                  <a:pos x="184" y="247"/>
                </a:cxn>
                <a:cxn ang="0">
                  <a:pos x="171" y="227"/>
                </a:cxn>
                <a:cxn ang="0">
                  <a:pos x="154" y="217"/>
                </a:cxn>
                <a:cxn ang="0">
                  <a:pos x="157" y="210"/>
                </a:cxn>
                <a:cxn ang="0">
                  <a:pos x="169" y="206"/>
                </a:cxn>
                <a:cxn ang="0">
                  <a:pos x="172" y="181"/>
                </a:cxn>
                <a:cxn ang="0">
                  <a:pos x="181" y="172"/>
                </a:cxn>
                <a:cxn ang="0">
                  <a:pos x="191" y="150"/>
                </a:cxn>
                <a:cxn ang="0">
                  <a:pos x="201" y="131"/>
                </a:cxn>
                <a:cxn ang="0">
                  <a:pos x="201" y="118"/>
                </a:cxn>
                <a:cxn ang="0">
                  <a:pos x="213" y="87"/>
                </a:cxn>
                <a:cxn ang="0">
                  <a:pos x="227" y="78"/>
                </a:cxn>
                <a:cxn ang="0">
                  <a:pos x="229" y="70"/>
                </a:cxn>
                <a:cxn ang="0">
                  <a:pos x="222" y="67"/>
                </a:cxn>
                <a:cxn ang="0">
                  <a:pos x="213" y="60"/>
                </a:cxn>
                <a:cxn ang="0">
                  <a:pos x="212" y="29"/>
                </a:cxn>
                <a:cxn ang="0">
                  <a:pos x="207" y="15"/>
                </a:cxn>
                <a:cxn ang="0">
                  <a:pos x="193" y="3"/>
                </a:cxn>
                <a:cxn ang="0">
                  <a:pos x="184" y="3"/>
                </a:cxn>
                <a:cxn ang="0">
                  <a:pos x="178" y="10"/>
                </a:cxn>
                <a:cxn ang="0">
                  <a:pos x="167" y="19"/>
                </a:cxn>
                <a:cxn ang="0">
                  <a:pos x="157" y="15"/>
                </a:cxn>
                <a:cxn ang="0">
                  <a:pos x="131" y="15"/>
                </a:cxn>
                <a:cxn ang="0">
                  <a:pos x="131" y="12"/>
                </a:cxn>
                <a:cxn ang="0">
                  <a:pos x="120" y="15"/>
                </a:cxn>
                <a:cxn ang="0">
                  <a:pos x="97" y="15"/>
                </a:cxn>
                <a:cxn ang="0">
                  <a:pos x="77" y="15"/>
                </a:cxn>
                <a:cxn ang="0">
                  <a:pos x="55" y="15"/>
                </a:cxn>
                <a:cxn ang="0">
                  <a:pos x="44" y="29"/>
                </a:cxn>
                <a:cxn ang="0">
                  <a:pos x="31" y="44"/>
                </a:cxn>
              </a:cxnLst>
              <a:rect l="0" t="0" r="r" b="b"/>
              <a:pathLst>
                <a:path w="230" h="276">
                  <a:moveTo>
                    <a:pt x="31" y="53"/>
                  </a:moveTo>
                  <a:lnTo>
                    <a:pt x="31" y="65"/>
                  </a:lnTo>
                  <a:lnTo>
                    <a:pt x="31" y="78"/>
                  </a:lnTo>
                  <a:lnTo>
                    <a:pt x="31" y="92"/>
                  </a:lnTo>
                  <a:lnTo>
                    <a:pt x="31" y="106"/>
                  </a:lnTo>
                  <a:lnTo>
                    <a:pt x="15" y="107"/>
                  </a:lnTo>
                  <a:lnTo>
                    <a:pt x="14" y="114"/>
                  </a:lnTo>
                  <a:lnTo>
                    <a:pt x="7" y="123"/>
                  </a:lnTo>
                  <a:lnTo>
                    <a:pt x="7" y="130"/>
                  </a:lnTo>
                  <a:lnTo>
                    <a:pt x="4" y="133"/>
                  </a:lnTo>
                  <a:lnTo>
                    <a:pt x="4" y="138"/>
                  </a:lnTo>
                  <a:lnTo>
                    <a:pt x="2" y="145"/>
                  </a:lnTo>
                  <a:lnTo>
                    <a:pt x="0" y="148"/>
                  </a:lnTo>
                  <a:lnTo>
                    <a:pt x="7" y="147"/>
                  </a:lnTo>
                  <a:lnTo>
                    <a:pt x="9" y="155"/>
                  </a:lnTo>
                  <a:lnTo>
                    <a:pt x="15" y="169"/>
                  </a:lnTo>
                  <a:lnTo>
                    <a:pt x="15" y="171"/>
                  </a:lnTo>
                  <a:lnTo>
                    <a:pt x="12" y="172"/>
                  </a:lnTo>
                  <a:lnTo>
                    <a:pt x="24" y="186"/>
                  </a:lnTo>
                  <a:lnTo>
                    <a:pt x="24" y="189"/>
                  </a:lnTo>
                  <a:lnTo>
                    <a:pt x="24" y="201"/>
                  </a:lnTo>
                  <a:lnTo>
                    <a:pt x="26" y="205"/>
                  </a:lnTo>
                  <a:lnTo>
                    <a:pt x="33" y="205"/>
                  </a:lnTo>
                  <a:lnTo>
                    <a:pt x="33" y="210"/>
                  </a:lnTo>
                  <a:lnTo>
                    <a:pt x="41" y="210"/>
                  </a:lnTo>
                  <a:lnTo>
                    <a:pt x="46" y="213"/>
                  </a:lnTo>
                  <a:lnTo>
                    <a:pt x="48" y="220"/>
                  </a:lnTo>
                  <a:lnTo>
                    <a:pt x="62" y="230"/>
                  </a:lnTo>
                  <a:lnTo>
                    <a:pt x="67" y="240"/>
                  </a:lnTo>
                  <a:lnTo>
                    <a:pt x="77" y="246"/>
                  </a:lnTo>
                  <a:lnTo>
                    <a:pt x="79" y="252"/>
                  </a:lnTo>
                  <a:lnTo>
                    <a:pt x="87" y="263"/>
                  </a:lnTo>
                  <a:lnTo>
                    <a:pt x="92" y="264"/>
                  </a:lnTo>
                  <a:lnTo>
                    <a:pt x="96" y="263"/>
                  </a:lnTo>
                  <a:lnTo>
                    <a:pt x="104" y="263"/>
                  </a:lnTo>
                  <a:lnTo>
                    <a:pt x="108" y="261"/>
                  </a:lnTo>
                  <a:lnTo>
                    <a:pt x="125" y="275"/>
                  </a:lnTo>
                  <a:lnTo>
                    <a:pt x="126" y="275"/>
                  </a:lnTo>
                  <a:lnTo>
                    <a:pt x="128" y="273"/>
                  </a:lnTo>
                  <a:lnTo>
                    <a:pt x="140" y="273"/>
                  </a:lnTo>
                  <a:lnTo>
                    <a:pt x="142" y="275"/>
                  </a:lnTo>
                  <a:lnTo>
                    <a:pt x="152" y="273"/>
                  </a:lnTo>
                  <a:lnTo>
                    <a:pt x="160" y="273"/>
                  </a:lnTo>
                  <a:lnTo>
                    <a:pt x="167" y="268"/>
                  </a:lnTo>
                  <a:lnTo>
                    <a:pt x="174" y="261"/>
                  </a:lnTo>
                  <a:lnTo>
                    <a:pt x="193" y="261"/>
                  </a:lnTo>
                  <a:lnTo>
                    <a:pt x="195" y="251"/>
                  </a:lnTo>
                  <a:lnTo>
                    <a:pt x="184" y="247"/>
                  </a:lnTo>
                  <a:lnTo>
                    <a:pt x="178" y="234"/>
                  </a:lnTo>
                  <a:lnTo>
                    <a:pt x="171" y="227"/>
                  </a:lnTo>
                  <a:lnTo>
                    <a:pt x="166" y="220"/>
                  </a:lnTo>
                  <a:lnTo>
                    <a:pt x="154" y="217"/>
                  </a:lnTo>
                  <a:lnTo>
                    <a:pt x="157" y="213"/>
                  </a:lnTo>
                  <a:lnTo>
                    <a:pt x="157" y="210"/>
                  </a:lnTo>
                  <a:lnTo>
                    <a:pt x="166" y="208"/>
                  </a:lnTo>
                  <a:lnTo>
                    <a:pt x="169" y="206"/>
                  </a:lnTo>
                  <a:lnTo>
                    <a:pt x="171" y="179"/>
                  </a:lnTo>
                  <a:lnTo>
                    <a:pt x="172" y="181"/>
                  </a:lnTo>
                  <a:lnTo>
                    <a:pt x="174" y="176"/>
                  </a:lnTo>
                  <a:lnTo>
                    <a:pt x="181" y="172"/>
                  </a:lnTo>
                  <a:lnTo>
                    <a:pt x="183" y="162"/>
                  </a:lnTo>
                  <a:lnTo>
                    <a:pt x="191" y="150"/>
                  </a:lnTo>
                  <a:lnTo>
                    <a:pt x="198" y="145"/>
                  </a:lnTo>
                  <a:lnTo>
                    <a:pt x="201" y="131"/>
                  </a:lnTo>
                  <a:lnTo>
                    <a:pt x="203" y="126"/>
                  </a:lnTo>
                  <a:lnTo>
                    <a:pt x="201" y="118"/>
                  </a:lnTo>
                  <a:lnTo>
                    <a:pt x="210" y="87"/>
                  </a:lnTo>
                  <a:lnTo>
                    <a:pt x="213" y="87"/>
                  </a:lnTo>
                  <a:lnTo>
                    <a:pt x="217" y="84"/>
                  </a:lnTo>
                  <a:lnTo>
                    <a:pt x="227" y="78"/>
                  </a:lnTo>
                  <a:lnTo>
                    <a:pt x="229" y="73"/>
                  </a:lnTo>
                  <a:lnTo>
                    <a:pt x="229" y="70"/>
                  </a:lnTo>
                  <a:lnTo>
                    <a:pt x="225" y="70"/>
                  </a:lnTo>
                  <a:lnTo>
                    <a:pt x="222" y="67"/>
                  </a:lnTo>
                  <a:lnTo>
                    <a:pt x="217" y="63"/>
                  </a:lnTo>
                  <a:lnTo>
                    <a:pt x="213" y="60"/>
                  </a:lnTo>
                  <a:lnTo>
                    <a:pt x="212" y="48"/>
                  </a:lnTo>
                  <a:lnTo>
                    <a:pt x="212" y="29"/>
                  </a:lnTo>
                  <a:lnTo>
                    <a:pt x="208" y="22"/>
                  </a:lnTo>
                  <a:lnTo>
                    <a:pt x="207" y="15"/>
                  </a:lnTo>
                  <a:lnTo>
                    <a:pt x="200" y="7"/>
                  </a:lnTo>
                  <a:lnTo>
                    <a:pt x="193" y="3"/>
                  </a:lnTo>
                  <a:lnTo>
                    <a:pt x="189" y="0"/>
                  </a:lnTo>
                  <a:lnTo>
                    <a:pt x="184" y="3"/>
                  </a:lnTo>
                  <a:lnTo>
                    <a:pt x="181" y="3"/>
                  </a:lnTo>
                  <a:lnTo>
                    <a:pt x="178" y="10"/>
                  </a:lnTo>
                  <a:lnTo>
                    <a:pt x="169" y="12"/>
                  </a:lnTo>
                  <a:lnTo>
                    <a:pt x="167" y="19"/>
                  </a:lnTo>
                  <a:lnTo>
                    <a:pt x="162" y="19"/>
                  </a:lnTo>
                  <a:lnTo>
                    <a:pt x="157" y="15"/>
                  </a:lnTo>
                  <a:lnTo>
                    <a:pt x="143" y="15"/>
                  </a:lnTo>
                  <a:lnTo>
                    <a:pt x="131" y="15"/>
                  </a:lnTo>
                  <a:lnTo>
                    <a:pt x="133" y="14"/>
                  </a:lnTo>
                  <a:lnTo>
                    <a:pt x="131" y="12"/>
                  </a:lnTo>
                  <a:lnTo>
                    <a:pt x="130" y="15"/>
                  </a:lnTo>
                  <a:lnTo>
                    <a:pt x="120" y="15"/>
                  </a:lnTo>
                  <a:lnTo>
                    <a:pt x="108" y="15"/>
                  </a:lnTo>
                  <a:lnTo>
                    <a:pt x="97" y="15"/>
                  </a:lnTo>
                  <a:lnTo>
                    <a:pt x="87" y="15"/>
                  </a:lnTo>
                  <a:lnTo>
                    <a:pt x="77" y="15"/>
                  </a:lnTo>
                  <a:lnTo>
                    <a:pt x="65" y="15"/>
                  </a:lnTo>
                  <a:lnTo>
                    <a:pt x="55" y="15"/>
                  </a:lnTo>
                  <a:lnTo>
                    <a:pt x="44" y="15"/>
                  </a:lnTo>
                  <a:lnTo>
                    <a:pt x="44" y="29"/>
                  </a:lnTo>
                  <a:lnTo>
                    <a:pt x="44" y="44"/>
                  </a:lnTo>
                  <a:lnTo>
                    <a:pt x="31" y="44"/>
                  </a:lnTo>
                  <a:lnTo>
                    <a:pt x="31" y="53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9" name="Freeform 187">
              <a:extLst>
                <a:ext uri="{FF2B5EF4-FFF2-40B4-BE49-F238E27FC236}">
                  <a16:creationId xmlns:a16="http://schemas.microsoft.com/office/drawing/2014/main" id="{09093E46-FD52-A94A-A607-51794425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1834" y="2503779"/>
              <a:ext cx="157960" cy="192017"/>
            </a:xfrm>
            <a:custGeom>
              <a:avLst/>
              <a:gdLst/>
              <a:ahLst/>
              <a:cxnLst>
                <a:cxn ang="0">
                  <a:pos x="85" y="67"/>
                </a:cxn>
                <a:cxn ang="0">
                  <a:pos x="64" y="87"/>
                </a:cxn>
                <a:cxn ang="0">
                  <a:pos x="39" y="96"/>
                </a:cxn>
                <a:cxn ang="0">
                  <a:pos x="25" y="104"/>
                </a:cxn>
                <a:cxn ang="0">
                  <a:pos x="15" y="108"/>
                </a:cxn>
                <a:cxn ang="0">
                  <a:pos x="6" y="120"/>
                </a:cxn>
                <a:cxn ang="0">
                  <a:pos x="0" y="138"/>
                </a:cxn>
                <a:cxn ang="0">
                  <a:pos x="0" y="164"/>
                </a:cxn>
                <a:cxn ang="0">
                  <a:pos x="6" y="186"/>
                </a:cxn>
                <a:cxn ang="0">
                  <a:pos x="22" y="166"/>
                </a:cxn>
                <a:cxn ang="0">
                  <a:pos x="35" y="157"/>
                </a:cxn>
                <a:cxn ang="0">
                  <a:pos x="66" y="135"/>
                </a:cxn>
                <a:cxn ang="0">
                  <a:pos x="92" y="109"/>
                </a:cxn>
                <a:cxn ang="0">
                  <a:pos x="107" y="87"/>
                </a:cxn>
                <a:cxn ang="0">
                  <a:pos x="121" y="60"/>
                </a:cxn>
                <a:cxn ang="0">
                  <a:pos x="124" y="51"/>
                </a:cxn>
                <a:cxn ang="0">
                  <a:pos x="134" y="24"/>
                </a:cxn>
                <a:cxn ang="0">
                  <a:pos x="139" y="21"/>
                </a:cxn>
                <a:cxn ang="0">
                  <a:pos x="139" y="19"/>
                </a:cxn>
                <a:cxn ang="0">
                  <a:pos x="138" y="9"/>
                </a:cxn>
                <a:cxn ang="0">
                  <a:pos x="133" y="0"/>
                </a:cxn>
                <a:cxn ang="0">
                  <a:pos x="112" y="9"/>
                </a:cxn>
                <a:cxn ang="0">
                  <a:pos x="104" y="9"/>
                </a:cxn>
                <a:cxn ang="0">
                  <a:pos x="87" y="12"/>
                </a:cxn>
                <a:cxn ang="0">
                  <a:pos x="64" y="16"/>
                </a:cxn>
                <a:cxn ang="0">
                  <a:pos x="47" y="22"/>
                </a:cxn>
                <a:cxn ang="0">
                  <a:pos x="30" y="7"/>
                </a:cxn>
                <a:cxn ang="0">
                  <a:pos x="23" y="17"/>
                </a:cxn>
                <a:cxn ang="0">
                  <a:pos x="35" y="34"/>
                </a:cxn>
                <a:cxn ang="0">
                  <a:pos x="52" y="43"/>
                </a:cxn>
                <a:cxn ang="0">
                  <a:pos x="73" y="51"/>
                </a:cxn>
                <a:cxn ang="0">
                  <a:pos x="97" y="53"/>
                </a:cxn>
              </a:cxnLst>
              <a:rect l="0" t="0" r="r" b="b"/>
              <a:pathLst>
                <a:path w="142" h="187">
                  <a:moveTo>
                    <a:pt x="93" y="58"/>
                  </a:moveTo>
                  <a:lnTo>
                    <a:pt x="85" y="67"/>
                  </a:lnTo>
                  <a:lnTo>
                    <a:pt x="75" y="77"/>
                  </a:lnTo>
                  <a:lnTo>
                    <a:pt x="64" y="87"/>
                  </a:lnTo>
                  <a:lnTo>
                    <a:pt x="56" y="96"/>
                  </a:lnTo>
                  <a:lnTo>
                    <a:pt x="39" y="96"/>
                  </a:lnTo>
                  <a:lnTo>
                    <a:pt x="32" y="99"/>
                  </a:lnTo>
                  <a:lnTo>
                    <a:pt x="25" y="104"/>
                  </a:lnTo>
                  <a:lnTo>
                    <a:pt x="17" y="108"/>
                  </a:lnTo>
                  <a:lnTo>
                    <a:pt x="15" y="108"/>
                  </a:lnTo>
                  <a:lnTo>
                    <a:pt x="12" y="111"/>
                  </a:lnTo>
                  <a:lnTo>
                    <a:pt x="6" y="120"/>
                  </a:lnTo>
                  <a:lnTo>
                    <a:pt x="0" y="127"/>
                  </a:lnTo>
                  <a:lnTo>
                    <a:pt x="0" y="138"/>
                  </a:lnTo>
                  <a:lnTo>
                    <a:pt x="0" y="150"/>
                  </a:lnTo>
                  <a:lnTo>
                    <a:pt x="0" y="164"/>
                  </a:lnTo>
                  <a:lnTo>
                    <a:pt x="0" y="176"/>
                  </a:lnTo>
                  <a:lnTo>
                    <a:pt x="6" y="186"/>
                  </a:lnTo>
                  <a:lnTo>
                    <a:pt x="20" y="171"/>
                  </a:lnTo>
                  <a:lnTo>
                    <a:pt x="22" y="166"/>
                  </a:lnTo>
                  <a:lnTo>
                    <a:pt x="25" y="166"/>
                  </a:lnTo>
                  <a:lnTo>
                    <a:pt x="35" y="157"/>
                  </a:lnTo>
                  <a:lnTo>
                    <a:pt x="54" y="140"/>
                  </a:lnTo>
                  <a:lnTo>
                    <a:pt x="66" y="135"/>
                  </a:lnTo>
                  <a:lnTo>
                    <a:pt x="75" y="125"/>
                  </a:lnTo>
                  <a:lnTo>
                    <a:pt x="92" y="109"/>
                  </a:lnTo>
                  <a:lnTo>
                    <a:pt x="99" y="96"/>
                  </a:lnTo>
                  <a:lnTo>
                    <a:pt x="107" y="87"/>
                  </a:lnTo>
                  <a:lnTo>
                    <a:pt x="112" y="75"/>
                  </a:lnTo>
                  <a:lnTo>
                    <a:pt x="121" y="60"/>
                  </a:lnTo>
                  <a:lnTo>
                    <a:pt x="121" y="55"/>
                  </a:lnTo>
                  <a:lnTo>
                    <a:pt x="124" y="51"/>
                  </a:lnTo>
                  <a:lnTo>
                    <a:pt x="133" y="40"/>
                  </a:lnTo>
                  <a:lnTo>
                    <a:pt x="134" y="24"/>
                  </a:lnTo>
                  <a:lnTo>
                    <a:pt x="141" y="22"/>
                  </a:lnTo>
                  <a:lnTo>
                    <a:pt x="139" y="21"/>
                  </a:lnTo>
                  <a:lnTo>
                    <a:pt x="136" y="22"/>
                  </a:lnTo>
                  <a:lnTo>
                    <a:pt x="139" y="19"/>
                  </a:lnTo>
                  <a:lnTo>
                    <a:pt x="139" y="12"/>
                  </a:lnTo>
                  <a:lnTo>
                    <a:pt x="138" y="9"/>
                  </a:lnTo>
                  <a:lnTo>
                    <a:pt x="139" y="2"/>
                  </a:lnTo>
                  <a:lnTo>
                    <a:pt x="133" y="0"/>
                  </a:lnTo>
                  <a:lnTo>
                    <a:pt x="124" y="5"/>
                  </a:lnTo>
                  <a:lnTo>
                    <a:pt x="112" y="9"/>
                  </a:lnTo>
                  <a:lnTo>
                    <a:pt x="107" y="11"/>
                  </a:lnTo>
                  <a:lnTo>
                    <a:pt x="104" y="9"/>
                  </a:lnTo>
                  <a:lnTo>
                    <a:pt x="99" y="12"/>
                  </a:lnTo>
                  <a:lnTo>
                    <a:pt x="87" y="12"/>
                  </a:lnTo>
                  <a:lnTo>
                    <a:pt x="75" y="17"/>
                  </a:lnTo>
                  <a:lnTo>
                    <a:pt x="64" y="16"/>
                  </a:lnTo>
                  <a:lnTo>
                    <a:pt x="54" y="21"/>
                  </a:lnTo>
                  <a:lnTo>
                    <a:pt x="47" y="22"/>
                  </a:lnTo>
                  <a:lnTo>
                    <a:pt x="42" y="19"/>
                  </a:lnTo>
                  <a:lnTo>
                    <a:pt x="30" y="7"/>
                  </a:lnTo>
                  <a:lnTo>
                    <a:pt x="25" y="14"/>
                  </a:lnTo>
                  <a:lnTo>
                    <a:pt x="23" y="17"/>
                  </a:lnTo>
                  <a:lnTo>
                    <a:pt x="25" y="22"/>
                  </a:lnTo>
                  <a:lnTo>
                    <a:pt x="35" y="34"/>
                  </a:lnTo>
                  <a:lnTo>
                    <a:pt x="42" y="40"/>
                  </a:lnTo>
                  <a:lnTo>
                    <a:pt x="52" y="43"/>
                  </a:lnTo>
                  <a:lnTo>
                    <a:pt x="63" y="46"/>
                  </a:lnTo>
                  <a:lnTo>
                    <a:pt x="73" y="51"/>
                  </a:lnTo>
                  <a:lnTo>
                    <a:pt x="83" y="55"/>
                  </a:lnTo>
                  <a:lnTo>
                    <a:pt x="97" y="53"/>
                  </a:lnTo>
                  <a:lnTo>
                    <a:pt x="93" y="58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0" name="Freeform 188">
              <a:extLst>
                <a:ext uri="{FF2B5EF4-FFF2-40B4-BE49-F238E27FC236}">
                  <a16:creationId xmlns:a16="http://schemas.microsoft.com/office/drawing/2014/main" id="{DB231CD9-1E8E-3D4D-8B35-B741882E1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8358" y="2461680"/>
              <a:ext cx="232490" cy="162239"/>
            </a:xfrm>
            <a:custGeom>
              <a:avLst/>
              <a:gdLst/>
              <a:ahLst/>
              <a:cxnLst>
                <a:cxn ang="0">
                  <a:pos x="196" y="108"/>
                </a:cxn>
                <a:cxn ang="0">
                  <a:pos x="175" y="128"/>
                </a:cxn>
                <a:cxn ang="0">
                  <a:pos x="150" y="137"/>
                </a:cxn>
                <a:cxn ang="0">
                  <a:pos x="136" y="145"/>
                </a:cxn>
                <a:cxn ang="0">
                  <a:pos x="126" y="149"/>
                </a:cxn>
                <a:cxn ang="0">
                  <a:pos x="116" y="152"/>
                </a:cxn>
                <a:cxn ang="0">
                  <a:pos x="99" y="150"/>
                </a:cxn>
                <a:cxn ang="0">
                  <a:pos x="88" y="157"/>
                </a:cxn>
                <a:cxn ang="0">
                  <a:pos x="68" y="154"/>
                </a:cxn>
                <a:cxn ang="0">
                  <a:pos x="39" y="142"/>
                </a:cxn>
                <a:cxn ang="0">
                  <a:pos x="30" y="128"/>
                </a:cxn>
                <a:cxn ang="0">
                  <a:pos x="17" y="108"/>
                </a:cxn>
                <a:cxn ang="0">
                  <a:pos x="0" y="98"/>
                </a:cxn>
                <a:cxn ang="0">
                  <a:pos x="3" y="91"/>
                </a:cxn>
                <a:cxn ang="0">
                  <a:pos x="15" y="87"/>
                </a:cxn>
                <a:cxn ang="0">
                  <a:pos x="18" y="62"/>
                </a:cxn>
                <a:cxn ang="0">
                  <a:pos x="27" y="53"/>
                </a:cxn>
                <a:cxn ang="0">
                  <a:pos x="37" y="31"/>
                </a:cxn>
                <a:cxn ang="0">
                  <a:pos x="47" y="12"/>
                </a:cxn>
                <a:cxn ang="0">
                  <a:pos x="54" y="9"/>
                </a:cxn>
                <a:cxn ang="0">
                  <a:pos x="58" y="6"/>
                </a:cxn>
                <a:cxn ang="0">
                  <a:pos x="66" y="0"/>
                </a:cxn>
                <a:cxn ang="0">
                  <a:pos x="73" y="7"/>
                </a:cxn>
                <a:cxn ang="0">
                  <a:pos x="82" y="4"/>
                </a:cxn>
                <a:cxn ang="0">
                  <a:pos x="88" y="4"/>
                </a:cxn>
                <a:cxn ang="0">
                  <a:pos x="99" y="6"/>
                </a:cxn>
                <a:cxn ang="0">
                  <a:pos x="112" y="17"/>
                </a:cxn>
                <a:cxn ang="0">
                  <a:pos x="123" y="29"/>
                </a:cxn>
                <a:cxn ang="0">
                  <a:pos x="128" y="36"/>
                </a:cxn>
                <a:cxn ang="0">
                  <a:pos x="123" y="52"/>
                </a:cxn>
                <a:cxn ang="0">
                  <a:pos x="129" y="55"/>
                </a:cxn>
                <a:cxn ang="0">
                  <a:pos x="136" y="55"/>
                </a:cxn>
                <a:cxn ang="0">
                  <a:pos x="136" y="63"/>
                </a:cxn>
                <a:cxn ang="0">
                  <a:pos x="153" y="81"/>
                </a:cxn>
                <a:cxn ang="0">
                  <a:pos x="174" y="87"/>
                </a:cxn>
                <a:cxn ang="0">
                  <a:pos x="194" y="96"/>
                </a:cxn>
                <a:cxn ang="0">
                  <a:pos x="204" y="99"/>
                </a:cxn>
              </a:cxnLst>
              <a:rect l="0" t="0" r="r" b="b"/>
              <a:pathLst>
                <a:path w="209" h="158">
                  <a:moveTo>
                    <a:pt x="204" y="99"/>
                  </a:moveTo>
                  <a:lnTo>
                    <a:pt x="196" y="108"/>
                  </a:lnTo>
                  <a:lnTo>
                    <a:pt x="186" y="118"/>
                  </a:lnTo>
                  <a:lnTo>
                    <a:pt x="175" y="128"/>
                  </a:lnTo>
                  <a:lnTo>
                    <a:pt x="167" y="137"/>
                  </a:lnTo>
                  <a:lnTo>
                    <a:pt x="150" y="137"/>
                  </a:lnTo>
                  <a:lnTo>
                    <a:pt x="143" y="140"/>
                  </a:lnTo>
                  <a:lnTo>
                    <a:pt x="136" y="145"/>
                  </a:lnTo>
                  <a:lnTo>
                    <a:pt x="128" y="149"/>
                  </a:lnTo>
                  <a:lnTo>
                    <a:pt x="126" y="149"/>
                  </a:lnTo>
                  <a:lnTo>
                    <a:pt x="123" y="152"/>
                  </a:lnTo>
                  <a:lnTo>
                    <a:pt x="116" y="152"/>
                  </a:lnTo>
                  <a:lnTo>
                    <a:pt x="107" y="147"/>
                  </a:lnTo>
                  <a:lnTo>
                    <a:pt x="99" y="150"/>
                  </a:lnTo>
                  <a:lnTo>
                    <a:pt x="93" y="154"/>
                  </a:lnTo>
                  <a:lnTo>
                    <a:pt x="88" y="157"/>
                  </a:lnTo>
                  <a:lnTo>
                    <a:pt x="82" y="157"/>
                  </a:lnTo>
                  <a:lnTo>
                    <a:pt x="68" y="154"/>
                  </a:lnTo>
                  <a:lnTo>
                    <a:pt x="51" y="144"/>
                  </a:lnTo>
                  <a:lnTo>
                    <a:pt x="39" y="142"/>
                  </a:lnTo>
                  <a:lnTo>
                    <a:pt x="41" y="132"/>
                  </a:lnTo>
                  <a:lnTo>
                    <a:pt x="30" y="128"/>
                  </a:lnTo>
                  <a:lnTo>
                    <a:pt x="24" y="115"/>
                  </a:lnTo>
                  <a:lnTo>
                    <a:pt x="17" y="108"/>
                  </a:lnTo>
                  <a:lnTo>
                    <a:pt x="12" y="101"/>
                  </a:lnTo>
                  <a:lnTo>
                    <a:pt x="0" y="98"/>
                  </a:lnTo>
                  <a:lnTo>
                    <a:pt x="3" y="94"/>
                  </a:lnTo>
                  <a:lnTo>
                    <a:pt x="3" y="91"/>
                  </a:lnTo>
                  <a:lnTo>
                    <a:pt x="12" y="89"/>
                  </a:lnTo>
                  <a:lnTo>
                    <a:pt x="15" y="87"/>
                  </a:lnTo>
                  <a:lnTo>
                    <a:pt x="17" y="60"/>
                  </a:lnTo>
                  <a:lnTo>
                    <a:pt x="18" y="62"/>
                  </a:lnTo>
                  <a:lnTo>
                    <a:pt x="20" y="57"/>
                  </a:lnTo>
                  <a:lnTo>
                    <a:pt x="27" y="53"/>
                  </a:lnTo>
                  <a:lnTo>
                    <a:pt x="29" y="43"/>
                  </a:lnTo>
                  <a:lnTo>
                    <a:pt x="37" y="31"/>
                  </a:lnTo>
                  <a:lnTo>
                    <a:pt x="44" y="26"/>
                  </a:lnTo>
                  <a:lnTo>
                    <a:pt x="47" y="12"/>
                  </a:lnTo>
                  <a:lnTo>
                    <a:pt x="49" y="7"/>
                  </a:lnTo>
                  <a:lnTo>
                    <a:pt x="54" y="9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61" y="11"/>
                  </a:lnTo>
                  <a:lnTo>
                    <a:pt x="66" y="0"/>
                  </a:lnTo>
                  <a:lnTo>
                    <a:pt x="71" y="4"/>
                  </a:lnTo>
                  <a:lnTo>
                    <a:pt x="73" y="7"/>
                  </a:lnTo>
                  <a:lnTo>
                    <a:pt x="80" y="6"/>
                  </a:lnTo>
                  <a:lnTo>
                    <a:pt x="82" y="4"/>
                  </a:lnTo>
                  <a:lnTo>
                    <a:pt x="85" y="6"/>
                  </a:lnTo>
                  <a:lnTo>
                    <a:pt x="88" y="4"/>
                  </a:lnTo>
                  <a:lnTo>
                    <a:pt x="93" y="7"/>
                  </a:lnTo>
                  <a:lnTo>
                    <a:pt x="99" y="6"/>
                  </a:lnTo>
                  <a:lnTo>
                    <a:pt x="105" y="11"/>
                  </a:lnTo>
                  <a:lnTo>
                    <a:pt x="112" y="17"/>
                  </a:lnTo>
                  <a:lnTo>
                    <a:pt x="119" y="23"/>
                  </a:lnTo>
                  <a:lnTo>
                    <a:pt x="123" y="29"/>
                  </a:lnTo>
                  <a:lnTo>
                    <a:pt x="129" y="35"/>
                  </a:lnTo>
                  <a:lnTo>
                    <a:pt x="128" y="36"/>
                  </a:lnTo>
                  <a:lnTo>
                    <a:pt x="126" y="45"/>
                  </a:lnTo>
                  <a:lnTo>
                    <a:pt x="123" y="52"/>
                  </a:lnTo>
                  <a:lnTo>
                    <a:pt x="124" y="55"/>
                  </a:lnTo>
                  <a:lnTo>
                    <a:pt x="129" y="55"/>
                  </a:lnTo>
                  <a:lnTo>
                    <a:pt x="133" y="53"/>
                  </a:lnTo>
                  <a:lnTo>
                    <a:pt x="136" y="55"/>
                  </a:lnTo>
                  <a:lnTo>
                    <a:pt x="134" y="58"/>
                  </a:lnTo>
                  <a:lnTo>
                    <a:pt x="136" y="63"/>
                  </a:lnTo>
                  <a:lnTo>
                    <a:pt x="146" y="75"/>
                  </a:lnTo>
                  <a:lnTo>
                    <a:pt x="153" y="81"/>
                  </a:lnTo>
                  <a:lnTo>
                    <a:pt x="163" y="84"/>
                  </a:lnTo>
                  <a:lnTo>
                    <a:pt x="174" y="87"/>
                  </a:lnTo>
                  <a:lnTo>
                    <a:pt x="184" y="92"/>
                  </a:lnTo>
                  <a:lnTo>
                    <a:pt x="194" y="96"/>
                  </a:lnTo>
                  <a:lnTo>
                    <a:pt x="208" y="94"/>
                  </a:lnTo>
                  <a:lnTo>
                    <a:pt x="204" y="99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1" name="Freeform 259">
              <a:extLst>
                <a:ext uri="{FF2B5EF4-FFF2-40B4-BE49-F238E27FC236}">
                  <a16:creationId xmlns:a16="http://schemas.microsoft.com/office/drawing/2014/main" id="{0B7CD260-D699-5744-A38A-CE2758B08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4094" y="2843660"/>
              <a:ext cx="111240" cy="202285"/>
            </a:xfrm>
            <a:custGeom>
              <a:avLst/>
              <a:gdLst/>
              <a:ahLst/>
              <a:cxnLst>
                <a:cxn ang="0">
                  <a:pos x="17" y="56"/>
                </a:cxn>
                <a:cxn ang="0">
                  <a:pos x="27" y="55"/>
                </a:cxn>
                <a:cxn ang="0">
                  <a:pos x="30" y="55"/>
                </a:cxn>
                <a:cxn ang="0">
                  <a:pos x="37" y="53"/>
                </a:cxn>
                <a:cxn ang="0">
                  <a:pos x="42" y="56"/>
                </a:cxn>
                <a:cxn ang="0">
                  <a:pos x="42" y="51"/>
                </a:cxn>
                <a:cxn ang="0">
                  <a:pos x="49" y="44"/>
                </a:cxn>
                <a:cxn ang="0">
                  <a:pos x="51" y="48"/>
                </a:cxn>
                <a:cxn ang="0">
                  <a:pos x="52" y="43"/>
                </a:cxn>
                <a:cxn ang="0">
                  <a:pos x="58" y="36"/>
                </a:cxn>
                <a:cxn ang="0">
                  <a:pos x="61" y="36"/>
                </a:cxn>
                <a:cxn ang="0">
                  <a:pos x="61" y="33"/>
                </a:cxn>
                <a:cxn ang="0">
                  <a:pos x="64" y="29"/>
                </a:cxn>
                <a:cxn ang="0">
                  <a:pos x="64" y="21"/>
                </a:cxn>
                <a:cxn ang="0">
                  <a:pos x="68" y="24"/>
                </a:cxn>
                <a:cxn ang="0">
                  <a:pos x="73" y="17"/>
                </a:cxn>
                <a:cxn ang="0">
                  <a:pos x="76" y="7"/>
                </a:cxn>
                <a:cxn ang="0">
                  <a:pos x="76" y="5"/>
                </a:cxn>
                <a:cxn ang="0">
                  <a:pos x="90" y="12"/>
                </a:cxn>
                <a:cxn ang="0">
                  <a:pos x="97" y="53"/>
                </a:cxn>
                <a:cxn ang="0">
                  <a:pos x="92" y="46"/>
                </a:cxn>
                <a:cxn ang="0">
                  <a:pos x="88" y="56"/>
                </a:cxn>
                <a:cxn ang="0">
                  <a:pos x="87" y="72"/>
                </a:cxn>
                <a:cxn ang="0">
                  <a:pos x="71" y="123"/>
                </a:cxn>
                <a:cxn ang="0">
                  <a:pos x="56" y="181"/>
                </a:cxn>
                <a:cxn ang="0">
                  <a:pos x="47" y="189"/>
                </a:cxn>
                <a:cxn ang="0">
                  <a:pos x="25" y="196"/>
                </a:cxn>
                <a:cxn ang="0">
                  <a:pos x="8" y="179"/>
                </a:cxn>
                <a:cxn ang="0">
                  <a:pos x="6" y="166"/>
                </a:cxn>
                <a:cxn ang="0">
                  <a:pos x="0" y="152"/>
                </a:cxn>
                <a:cxn ang="0">
                  <a:pos x="3" y="133"/>
                </a:cxn>
                <a:cxn ang="0">
                  <a:pos x="6" y="130"/>
                </a:cxn>
                <a:cxn ang="0">
                  <a:pos x="17" y="109"/>
                </a:cxn>
                <a:cxn ang="0">
                  <a:pos x="13" y="96"/>
                </a:cxn>
                <a:cxn ang="0">
                  <a:pos x="10" y="77"/>
                </a:cxn>
                <a:cxn ang="0">
                  <a:pos x="17" y="58"/>
                </a:cxn>
              </a:cxnLst>
              <a:rect l="0" t="0" r="r" b="b"/>
              <a:pathLst>
                <a:path w="100" h="197">
                  <a:moveTo>
                    <a:pt x="17" y="58"/>
                  </a:moveTo>
                  <a:lnTo>
                    <a:pt x="17" y="56"/>
                  </a:lnTo>
                  <a:lnTo>
                    <a:pt x="23" y="58"/>
                  </a:lnTo>
                  <a:lnTo>
                    <a:pt x="27" y="55"/>
                  </a:lnTo>
                  <a:lnTo>
                    <a:pt x="29" y="56"/>
                  </a:lnTo>
                  <a:lnTo>
                    <a:pt x="30" y="55"/>
                  </a:lnTo>
                  <a:lnTo>
                    <a:pt x="32" y="51"/>
                  </a:lnTo>
                  <a:lnTo>
                    <a:pt x="37" y="53"/>
                  </a:lnTo>
                  <a:lnTo>
                    <a:pt x="37" y="51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2" y="51"/>
                  </a:lnTo>
                  <a:lnTo>
                    <a:pt x="44" y="50"/>
                  </a:lnTo>
                  <a:lnTo>
                    <a:pt x="49" y="44"/>
                  </a:lnTo>
                  <a:lnTo>
                    <a:pt x="51" y="44"/>
                  </a:lnTo>
                  <a:lnTo>
                    <a:pt x="51" y="48"/>
                  </a:lnTo>
                  <a:lnTo>
                    <a:pt x="54" y="48"/>
                  </a:lnTo>
                  <a:lnTo>
                    <a:pt x="52" y="43"/>
                  </a:lnTo>
                  <a:lnTo>
                    <a:pt x="56" y="38"/>
                  </a:lnTo>
                  <a:lnTo>
                    <a:pt x="58" y="36"/>
                  </a:lnTo>
                  <a:lnTo>
                    <a:pt x="58" y="41"/>
                  </a:lnTo>
                  <a:lnTo>
                    <a:pt x="61" y="36"/>
                  </a:lnTo>
                  <a:lnTo>
                    <a:pt x="64" y="36"/>
                  </a:lnTo>
                  <a:lnTo>
                    <a:pt x="61" y="33"/>
                  </a:lnTo>
                  <a:lnTo>
                    <a:pt x="63" y="27"/>
                  </a:lnTo>
                  <a:lnTo>
                    <a:pt x="64" y="29"/>
                  </a:lnTo>
                  <a:lnTo>
                    <a:pt x="63" y="21"/>
                  </a:lnTo>
                  <a:lnTo>
                    <a:pt x="64" y="21"/>
                  </a:lnTo>
                  <a:lnTo>
                    <a:pt x="66" y="21"/>
                  </a:lnTo>
                  <a:lnTo>
                    <a:pt x="68" y="24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5" y="15"/>
                  </a:lnTo>
                  <a:lnTo>
                    <a:pt x="76" y="7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81" y="0"/>
                  </a:lnTo>
                  <a:lnTo>
                    <a:pt x="90" y="12"/>
                  </a:lnTo>
                  <a:lnTo>
                    <a:pt x="99" y="46"/>
                  </a:lnTo>
                  <a:lnTo>
                    <a:pt x="97" y="53"/>
                  </a:lnTo>
                  <a:lnTo>
                    <a:pt x="93" y="53"/>
                  </a:lnTo>
                  <a:lnTo>
                    <a:pt x="92" y="46"/>
                  </a:lnTo>
                  <a:lnTo>
                    <a:pt x="90" y="46"/>
                  </a:lnTo>
                  <a:lnTo>
                    <a:pt x="88" y="56"/>
                  </a:lnTo>
                  <a:lnTo>
                    <a:pt x="90" y="63"/>
                  </a:lnTo>
                  <a:lnTo>
                    <a:pt x="87" y="72"/>
                  </a:lnTo>
                  <a:lnTo>
                    <a:pt x="83" y="92"/>
                  </a:lnTo>
                  <a:lnTo>
                    <a:pt x="71" y="123"/>
                  </a:lnTo>
                  <a:lnTo>
                    <a:pt x="59" y="172"/>
                  </a:lnTo>
                  <a:lnTo>
                    <a:pt x="56" y="181"/>
                  </a:lnTo>
                  <a:lnTo>
                    <a:pt x="52" y="186"/>
                  </a:lnTo>
                  <a:lnTo>
                    <a:pt x="47" y="189"/>
                  </a:lnTo>
                  <a:lnTo>
                    <a:pt x="37" y="189"/>
                  </a:lnTo>
                  <a:lnTo>
                    <a:pt x="25" y="196"/>
                  </a:lnTo>
                  <a:lnTo>
                    <a:pt x="12" y="186"/>
                  </a:lnTo>
                  <a:lnTo>
                    <a:pt x="8" y="179"/>
                  </a:lnTo>
                  <a:lnTo>
                    <a:pt x="6" y="171"/>
                  </a:lnTo>
                  <a:lnTo>
                    <a:pt x="6" y="166"/>
                  </a:lnTo>
                  <a:lnTo>
                    <a:pt x="5" y="157"/>
                  </a:lnTo>
                  <a:lnTo>
                    <a:pt x="0" y="152"/>
                  </a:lnTo>
                  <a:lnTo>
                    <a:pt x="0" y="140"/>
                  </a:lnTo>
                  <a:lnTo>
                    <a:pt x="3" y="133"/>
                  </a:lnTo>
                  <a:lnTo>
                    <a:pt x="5" y="131"/>
                  </a:lnTo>
                  <a:lnTo>
                    <a:pt x="6" y="130"/>
                  </a:lnTo>
                  <a:lnTo>
                    <a:pt x="10" y="123"/>
                  </a:lnTo>
                  <a:lnTo>
                    <a:pt x="17" y="109"/>
                  </a:lnTo>
                  <a:lnTo>
                    <a:pt x="18" y="106"/>
                  </a:lnTo>
                  <a:lnTo>
                    <a:pt x="13" y="96"/>
                  </a:lnTo>
                  <a:lnTo>
                    <a:pt x="12" y="80"/>
                  </a:lnTo>
                  <a:lnTo>
                    <a:pt x="10" y="77"/>
                  </a:lnTo>
                  <a:lnTo>
                    <a:pt x="17" y="63"/>
                  </a:lnTo>
                  <a:lnTo>
                    <a:pt x="17" y="58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2" name="Freeform 585">
              <a:extLst>
                <a:ext uri="{FF2B5EF4-FFF2-40B4-BE49-F238E27FC236}">
                  <a16:creationId xmlns:a16="http://schemas.microsoft.com/office/drawing/2014/main" id="{95E0D60F-A1DC-D24C-9D3A-6AC26CF07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0537" y="2640348"/>
              <a:ext cx="18911" cy="18483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11"/>
                </a:cxn>
                <a:cxn ang="0">
                  <a:pos x="0" y="14"/>
                </a:cxn>
                <a:cxn ang="0">
                  <a:pos x="0" y="16"/>
                </a:cxn>
                <a:cxn ang="0">
                  <a:pos x="3" y="17"/>
                </a:cxn>
                <a:cxn ang="0">
                  <a:pos x="7" y="11"/>
                </a:cxn>
                <a:cxn ang="0">
                  <a:pos x="13" y="9"/>
                </a:cxn>
                <a:cxn ang="0">
                  <a:pos x="16" y="5"/>
                </a:cxn>
                <a:cxn ang="0">
                  <a:pos x="13" y="2"/>
                </a:cxn>
                <a:cxn ang="0">
                  <a:pos x="13" y="0"/>
                </a:cxn>
              </a:cxnLst>
              <a:rect l="0" t="0" r="r" b="b"/>
              <a:pathLst>
                <a:path w="17" h="18">
                  <a:moveTo>
                    <a:pt x="13" y="0"/>
                  </a:moveTo>
                  <a:lnTo>
                    <a:pt x="0" y="11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3" y="17"/>
                  </a:lnTo>
                  <a:lnTo>
                    <a:pt x="7" y="11"/>
                  </a:lnTo>
                  <a:lnTo>
                    <a:pt x="13" y="9"/>
                  </a:lnTo>
                  <a:lnTo>
                    <a:pt x="16" y="5"/>
                  </a:lnTo>
                  <a:lnTo>
                    <a:pt x="13" y="2"/>
                  </a:lnTo>
                  <a:lnTo>
                    <a:pt x="13" y="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3" name="Freeform 586">
              <a:extLst>
                <a:ext uri="{FF2B5EF4-FFF2-40B4-BE49-F238E27FC236}">
                  <a16:creationId xmlns:a16="http://schemas.microsoft.com/office/drawing/2014/main" id="{C7CF0CC8-4F6E-E541-B95C-365A9824C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9970" y="2544853"/>
              <a:ext cx="30034" cy="41073"/>
            </a:xfrm>
            <a:custGeom>
              <a:avLst/>
              <a:gdLst/>
              <a:ahLst/>
              <a:cxnLst>
                <a:cxn ang="0">
                  <a:pos x="16" y="11"/>
                </a:cxn>
                <a:cxn ang="0">
                  <a:pos x="14" y="11"/>
                </a:cxn>
                <a:cxn ang="0">
                  <a:pos x="12" y="6"/>
                </a:cxn>
                <a:cxn ang="0">
                  <a:pos x="11" y="6"/>
                </a:cxn>
                <a:cxn ang="0">
                  <a:pos x="5" y="0"/>
                </a:cxn>
                <a:cxn ang="0">
                  <a:pos x="7" y="5"/>
                </a:cxn>
                <a:cxn ang="0">
                  <a:pos x="0" y="5"/>
                </a:cxn>
                <a:cxn ang="0">
                  <a:pos x="4" y="6"/>
                </a:cxn>
                <a:cxn ang="0">
                  <a:pos x="5" y="8"/>
                </a:cxn>
                <a:cxn ang="0">
                  <a:pos x="9" y="8"/>
                </a:cxn>
                <a:cxn ang="0">
                  <a:pos x="9" y="11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17" y="15"/>
                </a:cxn>
                <a:cxn ang="0">
                  <a:pos x="19" y="18"/>
                </a:cxn>
                <a:cxn ang="0">
                  <a:pos x="14" y="22"/>
                </a:cxn>
                <a:cxn ang="0">
                  <a:pos x="21" y="22"/>
                </a:cxn>
                <a:cxn ang="0">
                  <a:pos x="21" y="22"/>
                </a:cxn>
                <a:cxn ang="0">
                  <a:pos x="17" y="27"/>
                </a:cxn>
                <a:cxn ang="0">
                  <a:pos x="23" y="30"/>
                </a:cxn>
                <a:cxn ang="0">
                  <a:pos x="24" y="34"/>
                </a:cxn>
                <a:cxn ang="0">
                  <a:pos x="17" y="32"/>
                </a:cxn>
                <a:cxn ang="0">
                  <a:pos x="9" y="29"/>
                </a:cxn>
                <a:cxn ang="0">
                  <a:pos x="19" y="35"/>
                </a:cxn>
                <a:cxn ang="0">
                  <a:pos x="23" y="37"/>
                </a:cxn>
                <a:cxn ang="0">
                  <a:pos x="23" y="39"/>
                </a:cxn>
                <a:cxn ang="0">
                  <a:pos x="26" y="34"/>
                </a:cxn>
                <a:cxn ang="0">
                  <a:pos x="26" y="23"/>
                </a:cxn>
                <a:cxn ang="0">
                  <a:pos x="23" y="15"/>
                </a:cxn>
                <a:cxn ang="0">
                  <a:pos x="26" y="13"/>
                </a:cxn>
                <a:cxn ang="0">
                  <a:pos x="26" y="10"/>
                </a:cxn>
                <a:cxn ang="0">
                  <a:pos x="24" y="6"/>
                </a:cxn>
                <a:cxn ang="0">
                  <a:pos x="21" y="10"/>
                </a:cxn>
                <a:cxn ang="0">
                  <a:pos x="23" y="11"/>
                </a:cxn>
                <a:cxn ang="0">
                  <a:pos x="23" y="15"/>
                </a:cxn>
                <a:cxn ang="0">
                  <a:pos x="17" y="13"/>
                </a:cxn>
              </a:cxnLst>
              <a:rect l="0" t="0" r="r" b="b"/>
              <a:pathLst>
                <a:path w="27" h="40">
                  <a:moveTo>
                    <a:pt x="19" y="11"/>
                  </a:moveTo>
                  <a:lnTo>
                    <a:pt x="16" y="11"/>
                  </a:lnTo>
                  <a:lnTo>
                    <a:pt x="16" y="13"/>
                  </a:lnTo>
                  <a:lnTo>
                    <a:pt x="14" y="11"/>
                  </a:lnTo>
                  <a:lnTo>
                    <a:pt x="11" y="8"/>
                  </a:lnTo>
                  <a:lnTo>
                    <a:pt x="12" y="6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9" y="6"/>
                  </a:lnTo>
                  <a:lnTo>
                    <a:pt x="5" y="0"/>
                  </a:lnTo>
                  <a:lnTo>
                    <a:pt x="5" y="3"/>
                  </a:lnTo>
                  <a:lnTo>
                    <a:pt x="7" y="5"/>
                  </a:lnTo>
                  <a:lnTo>
                    <a:pt x="2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7" y="6"/>
                  </a:lnTo>
                  <a:lnTo>
                    <a:pt x="9" y="8"/>
                  </a:lnTo>
                  <a:lnTo>
                    <a:pt x="11" y="10"/>
                  </a:lnTo>
                  <a:lnTo>
                    <a:pt x="9" y="11"/>
                  </a:lnTo>
                  <a:lnTo>
                    <a:pt x="12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12" y="13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9" y="15"/>
                  </a:lnTo>
                  <a:lnTo>
                    <a:pt x="19" y="18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9" y="20"/>
                  </a:lnTo>
                  <a:lnTo>
                    <a:pt x="21" y="22"/>
                  </a:lnTo>
                  <a:lnTo>
                    <a:pt x="19" y="22"/>
                  </a:lnTo>
                  <a:lnTo>
                    <a:pt x="21" y="22"/>
                  </a:lnTo>
                  <a:lnTo>
                    <a:pt x="23" y="25"/>
                  </a:lnTo>
                  <a:lnTo>
                    <a:pt x="17" y="27"/>
                  </a:lnTo>
                  <a:lnTo>
                    <a:pt x="23" y="27"/>
                  </a:lnTo>
                  <a:lnTo>
                    <a:pt x="23" y="30"/>
                  </a:lnTo>
                  <a:lnTo>
                    <a:pt x="19" y="32"/>
                  </a:lnTo>
                  <a:lnTo>
                    <a:pt x="24" y="34"/>
                  </a:lnTo>
                  <a:lnTo>
                    <a:pt x="19" y="34"/>
                  </a:lnTo>
                  <a:lnTo>
                    <a:pt x="17" y="32"/>
                  </a:lnTo>
                  <a:lnTo>
                    <a:pt x="12" y="32"/>
                  </a:lnTo>
                  <a:lnTo>
                    <a:pt x="9" y="29"/>
                  </a:lnTo>
                  <a:lnTo>
                    <a:pt x="12" y="32"/>
                  </a:lnTo>
                  <a:lnTo>
                    <a:pt x="19" y="35"/>
                  </a:lnTo>
                  <a:lnTo>
                    <a:pt x="21" y="39"/>
                  </a:lnTo>
                  <a:lnTo>
                    <a:pt x="23" y="37"/>
                  </a:lnTo>
                  <a:lnTo>
                    <a:pt x="21" y="39"/>
                  </a:lnTo>
                  <a:lnTo>
                    <a:pt x="23" y="39"/>
                  </a:lnTo>
                  <a:lnTo>
                    <a:pt x="23" y="34"/>
                  </a:lnTo>
                  <a:lnTo>
                    <a:pt x="26" y="34"/>
                  </a:lnTo>
                  <a:lnTo>
                    <a:pt x="24" y="30"/>
                  </a:lnTo>
                  <a:lnTo>
                    <a:pt x="26" y="23"/>
                  </a:lnTo>
                  <a:lnTo>
                    <a:pt x="24" y="17"/>
                  </a:lnTo>
                  <a:lnTo>
                    <a:pt x="23" y="15"/>
                  </a:lnTo>
                  <a:lnTo>
                    <a:pt x="24" y="13"/>
                  </a:lnTo>
                  <a:lnTo>
                    <a:pt x="26" y="13"/>
                  </a:lnTo>
                  <a:lnTo>
                    <a:pt x="24" y="11"/>
                  </a:lnTo>
                  <a:lnTo>
                    <a:pt x="26" y="10"/>
                  </a:lnTo>
                  <a:lnTo>
                    <a:pt x="23" y="8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1" y="10"/>
                  </a:lnTo>
                  <a:lnTo>
                    <a:pt x="24" y="10"/>
                  </a:lnTo>
                  <a:lnTo>
                    <a:pt x="23" y="11"/>
                  </a:lnTo>
                  <a:lnTo>
                    <a:pt x="24" y="13"/>
                  </a:lnTo>
                  <a:lnTo>
                    <a:pt x="23" y="15"/>
                  </a:lnTo>
                  <a:lnTo>
                    <a:pt x="21" y="18"/>
                  </a:lnTo>
                  <a:lnTo>
                    <a:pt x="17" y="13"/>
                  </a:lnTo>
                  <a:lnTo>
                    <a:pt x="19" y="11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4" name="Freeform 587">
              <a:extLst>
                <a:ext uri="{FF2B5EF4-FFF2-40B4-BE49-F238E27FC236}">
                  <a16:creationId xmlns:a16="http://schemas.microsoft.com/office/drawing/2014/main" id="{CA26ADB4-803B-2D41-BA12-2E04FD06E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3967" y="2609543"/>
              <a:ext cx="18911" cy="3080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6" y="5"/>
                </a:cxn>
                <a:cxn ang="0">
                  <a:pos x="8" y="20"/>
                </a:cxn>
                <a:cxn ang="0">
                  <a:pos x="13" y="25"/>
                </a:cxn>
                <a:cxn ang="0">
                  <a:pos x="16" y="29"/>
                </a:cxn>
                <a:cxn ang="0">
                  <a:pos x="13" y="29"/>
                </a:cxn>
                <a:cxn ang="0">
                  <a:pos x="10" y="24"/>
                </a:cxn>
                <a:cxn ang="0">
                  <a:pos x="4" y="20"/>
                </a:cxn>
                <a:cxn ang="0">
                  <a:pos x="0" y="8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7" h="30">
                  <a:moveTo>
                    <a:pt x="1" y="0"/>
                  </a:moveTo>
                  <a:lnTo>
                    <a:pt x="6" y="5"/>
                  </a:lnTo>
                  <a:lnTo>
                    <a:pt x="8" y="20"/>
                  </a:lnTo>
                  <a:lnTo>
                    <a:pt x="13" y="25"/>
                  </a:lnTo>
                  <a:lnTo>
                    <a:pt x="16" y="29"/>
                  </a:lnTo>
                  <a:lnTo>
                    <a:pt x="13" y="29"/>
                  </a:lnTo>
                  <a:lnTo>
                    <a:pt x="10" y="24"/>
                  </a:lnTo>
                  <a:lnTo>
                    <a:pt x="4" y="20"/>
                  </a:lnTo>
                  <a:lnTo>
                    <a:pt x="0" y="8"/>
                  </a:lnTo>
                  <a:lnTo>
                    <a:pt x="0" y="1"/>
                  </a:lnTo>
                  <a:lnTo>
                    <a:pt x="1" y="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5" name="Freeform 588">
              <a:extLst>
                <a:ext uri="{FF2B5EF4-FFF2-40B4-BE49-F238E27FC236}">
                  <a16:creationId xmlns:a16="http://schemas.microsoft.com/office/drawing/2014/main" id="{B753FA3E-CF56-FD48-A7BE-D4A95E99B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2739" y="2674233"/>
              <a:ext cx="18911" cy="17456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10"/>
                </a:cxn>
                <a:cxn ang="0">
                  <a:pos x="0" y="16"/>
                </a:cxn>
                <a:cxn ang="0">
                  <a:pos x="11" y="6"/>
                </a:cxn>
                <a:cxn ang="0">
                  <a:pos x="16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7" h="17">
                  <a:moveTo>
                    <a:pt x="9" y="0"/>
                  </a:moveTo>
                  <a:lnTo>
                    <a:pt x="0" y="10"/>
                  </a:lnTo>
                  <a:lnTo>
                    <a:pt x="0" y="16"/>
                  </a:lnTo>
                  <a:lnTo>
                    <a:pt x="11" y="6"/>
                  </a:lnTo>
                  <a:lnTo>
                    <a:pt x="16" y="0"/>
                  </a:lnTo>
                  <a:lnTo>
                    <a:pt x="11" y="0"/>
                  </a:lnTo>
                  <a:lnTo>
                    <a:pt x="9" y="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6" name="Freeform 589">
              <a:extLst>
                <a:ext uri="{FF2B5EF4-FFF2-40B4-BE49-F238E27FC236}">
                  <a16:creationId xmlns:a16="http://schemas.microsoft.com/office/drawing/2014/main" id="{286B5D83-E2F2-A845-9CB4-34B46439D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3840" y="2793345"/>
              <a:ext cx="18911" cy="17456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0" y="16"/>
                </a:cxn>
                <a:cxn ang="0">
                  <a:pos x="2" y="16"/>
                </a:cxn>
                <a:cxn ang="0">
                  <a:pos x="8" y="16"/>
                </a:cxn>
                <a:cxn ang="0">
                  <a:pos x="13" y="16"/>
                </a:cxn>
                <a:cxn ang="0">
                  <a:pos x="13" y="12"/>
                </a:cxn>
                <a:cxn ang="0">
                  <a:pos x="13" y="10"/>
                </a:cxn>
                <a:cxn ang="0">
                  <a:pos x="16" y="6"/>
                </a:cxn>
                <a:cxn ang="0">
                  <a:pos x="16" y="2"/>
                </a:cxn>
                <a:cxn ang="0">
                  <a:pos x="13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6"/>
                </a:cxn>
                <a:cxn ang="0">
                  <a:pos x="2" y="10"/>
                </a:cxn>
              </a:cxnLst>
              <a:rect l="0" t="0" r="r" b="b"/>
              <a:pathLst>
                <a:path w="17" h="17">
                  <a:moveTo>
                    <a:pt x="2" y="10"/>
                  </a:moveTo>
                  <a:lnTo>
                    <a:pt x="0" y="16"/>
                  </a:lnTo>
                  <a:lnTo>
                    <a:pt x="2" y="16"/>
                  </a:lnTo>
                  <a:lnTo>
                    <a:pt x="8" y="16"/>
                  </a:lnTo>
                  <a:lnTo>
                    <a:pt x="13" y="16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6" y="6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6"/>
                  </a:lnTo>
                  <a:lnTo>
                    <a:pt x="2" y="10"/>
                  </a:lnTo>
                </a:path>
              </a:pathLst>
            </a:custGeom>
            <a:solidFill>
              <a:srgbClr val="8FB73D"/>
            </a:solidFill>
            <a:ln w="6350" cap="flat" cmpd="sng">
              <a:solidFill>
                <a:srgbClr val="8FB73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en-GB" sz="800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67" name="TextBox 166">
            <a:extLst>
              <a:ext uri="{FF2B5EF4-FFF2-40B4-BE49-F238E27FC236}">
                <a16:creationId xmlns:a16="http://schemas.microsoft.com/office/drawing/2014/main" id="{CA593515-F7F0-5446-8F94-DAFF136332FC}"/>
              </a:ext>
            </a:extLst>
          </p:cNvPr>
          <p:cNvSpPr txBox="1"/>
          <p:nvPr/>
        </p:nvSpPr>
        <p:spPr>
          <a:xfrm>
            <a:off x="3901035" y="3165293"/>
            <a:ext cx="226235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/>
              <a:t>Source: McKinsey, </a:t>
            </a:r>
            <a:r>
              <a:rPr lang="en-GB" sz="800" dirty="0" err="1"/>
              <a:t>InternetWorldStats</a:t>
            </a:r>
            <a:r>
              <a:rPr lang="en-GB" sz="800" dirty="0"/>
              <a:t>, GSMA</a:t>
            </a:r>
          </a:p>
        </p:txBody>
      </p: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2D64E3D3-ADD9-7049-B51E-7867F2DAE5B9}"/>
              </a:ext>
            </a:extLst>
          </p:cNvPr>
          <p:cNvCxnSpPr/>
          <p:nvPr/>
        </p:nvCxnSpPr>
        <p:spPr>
          <a:xfrm>
            <a:off x="3835039" y="4780677"/>
            <a:ext cx="4968000" cy="0"/>
          </a:xfrm>
          <a:prstGeom prst="straightConnector1">
            <a:avLst/>
          </a:prstGeom>
          <a:ln w="28575">
            <a:solidFill>
              <a:srgbClr val="002252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9" name="TextBox 168">
            <a:extLst>
              <a:ext uri="{FF2B5EF4-FFF2-40B4-BE49-F238E27FC236}">
                <a16:creationId xmlns:a16="http://schemas.microsoft.com/office/drawing/2014/main" id="{7778A598-9B28-E849-8095-754B098ED44E}"/>
              </a:ext>
            </a:extLst>
          </p:cNvPr>
          <p:cNvSpPr txBox="1"/>
          <p:nvPr/>
        </p:nvSpPr>
        <p:spPr>
          <a:xfrm>
            <a:off x="3835039" y="4810300"/>
            <a:ext cx="20518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GB" sz="800" kern="0" dirty="0"/>
              <a:t>2005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89BC235F-18E9-7346-B47C-6D08C5B69B91}"/>
              </a:ext>
            </a:extLst>
          </p:cNvPr>
          <p:cNvSpPr txBox="1"/>
          <p:nvPr/>
        </p:nvSpPr>
        <p:spPr>
          <a:xfrm>
            <a:off x="7683564" y="4810300"/>
            <a:ext cx="20518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GB" sz="800" kern="0" dirty="0"/>
              <a:t>2015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8C19163E-7C68-2D46-A31E-AEAF1E82B9CA}"/>
              </a:ext>
            </a:extLst>
          </p:cNvPr>
          <p:cNvSpPr txBox="1"/>
          <p:nvPr/>
        </p:nvSpPr>
        <p:spPr>
          <a:xfrm>
            <a:off x="4604744" y="4810300"/>
            <a:ext cx="20518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GB" sz="800" kern="0" dirty="0"/>
              <a:t>2007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5745BD40-D922-FD4E-BE35-18C43CE542C1}"/>
              </a:ext>
            </a:extLst>
          </p:cNvPr>
          <p:cNvSpPr txBox="1"/>
          <p:nvPr/>
        </p:nvSpPr>
        <p:spPr>
          <a:xfrm>
            <a:off x="5374449" y="4810300"/>
            <a:ext cx="20518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GB" sz="800" kern="0" dirty="0"/>
              <a:t>2009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15CDF0AF-76D5-254E-9295-C38C7BD5DD52}"/>
              </a:ext>
            </a:extLst>
          </p:cNvPr>
          <p:cNvSpPr txBox="1"/>
          <p:nvPr/>
        </p:nvSpPr>
        <p:spPr>
          <a:xfrm>
            <a:off x="6144154" y="4810300"/>
            <a:ext cx="20518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GB" sz="800" kern="0" dirty="0"/>
              <a:t>2011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123DE68A-33D0-DD4B-90E7-7809F4ABC6E8}"/>
              </a:ext>
            </a:extLst>
          </p:cNvPr>
          <p:cNvSpPr txBox="1"/>
          <p:nvPr/>
        </p:nvSpPr>
        <p:spPr>
          <a:xfrm>
            <a:off x="6913859" y="4810300"/>
            <a:ext cx="20518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GB" sz="800" kern="0" dirty="0"/>
              <a:t>2013</a:t>
            </a:r>
          </a:p>
        </p:txBody>
      </p:sp>
      <p:pic>
        <p:nvPicPr>
          <p:cNvPr id="175" name="Picture 174" descr="imgres.jpg">
            <a:extLst>
              <a:ext uri="{FF2B5EF4-FFF2-40B4-BE49-F238E27FC236}">
                <a16:creationId xmlns:a16="http://schemas.microsoft.com/office/drawing/2014/main" id="{B80A2B98-3777-A940-A047-A536AF4569E4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5330" y="3969195"/>
            <a:ext cx="537498" cy="390350"/>
          </a:xfrm>
          <a:prstGeom prst="rect">
            <a:avLst/>
          </a:prstGeom>
        </p:spPr>
      </p:pic>
      <p:pic>
        <p:nvPicPr>
          <p:cNvPr id="176" name="Picture 175" descr="images.jpg">
            <a:extLst>
              <a:ext uri="{FF2B5EF4-FFF2-40B4-BE49-F238E27FC236}">
                <a16:creationId xmlns:a16="http://schemas.microsoft.com/office/drawing/2014/main" id="{E2F10790-E9B9-8E42-A54C-61341B29B445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9717" y="4009132"/>
            <a:ext cx="603902" cy="338186"/>
          </a:xfrm>
          <a:prstGeom prst="rect">
            <a:avLst/>
          </a:prstGeom>
        </p:spPr>
      </p:pic>
      <p:pic>
        <p:nvPicPr>
          <p:cNvPr id="177" name="Picture 176" descr="Cloud storage -- SS 450pxl.jpg">
            <a:extLst>
              <a:ext uri="{FF2B5EF4-FFF2-40B4-BE49-F238E27FC236}">
                <a16:creationId xmlns:a16="http://schemas.microsoft.com/office/drawing/2014/main" id="{4173427D-296A-FC49-9053-30309475177E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2494" y="4403746"/>
            <a:ext cx="363170" cy="359135"/>
          </a:xfrm>
          <a:prstGeom prst="rect">
            <a:avLst/>
          </a:prstGeom>
        </p:spPr>
      </p:pic>
      <p:pic>
        <p:nvPicPr>
          <p:cNvPr id="178" name="Picture 177" descr="images.jpg">
            <a:extLst>
              <a:ext uri="{FF2B5EF4-FFF2-40B4-BE49-F238E27FC236}">
                <a16:creationId xmlns:a16="http://schemas.microsoft.com/office/drawing/2014/main" id="{A3C87721-02F2-9249-BEF3-35D89B180B51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2519" y="3962938"/>
            <a:ext cx="398740" cy="398740"/>
          </a:xfrm>
          <a:prstGeom prst="rect">
            <a:avLst/>
          </a:prstGeom>
        </p:spPr>
      </p:pic>
      <p:pic>
        <p:nvPicPr>
          <p:cNvPr id="179" name="Picture 178" descr="images.jpg">
            <a:extLst>
              <a:ext uri="{FF2B5EF4-FFF2-40B4-BE49-F238E27FC236}">
                <a16:creationId xmlns:a16="http://schemas.microsoft.com/office/drawing/2014/main" id="{16D08260-1510-124B-B065-1B4F1C1218D4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4636" y="3932300"/>
            <a:ext cx="367339" cy="420577"/>
          </a:xfrm>
          <a:prstGeom prst="rect">
            <a:avLst/>
          </a:prstGeom>
        </p:spPr>
      </p:pic>
      <p:pic>
        <p:nvPicPr>
          <p:cNvPr id="180" name="Picture 179" descr="imgres.jpg">
            <a:extLst>
              <a:ext uri="{FF2B5EF4-FFF2-40B4-BE49-F238E27FC236}">
                <a16:creationId xmlns:a16="http://schemas.microsoft.com/office/drawing/2014/main" id="{CA9D3C08-5900-6A43-ACB8-DA3DCC8146D1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8355" y="3962120"/>
            <a:ext cx="255827" cy="299501"/>
          </a:xfrm>
          <a:prstGeom prst="rect">
            <a:avLst/>
          </a:prstGeom>
        </p:spPr>
      </p:pic>
      <p:pic>
        <p:nvPicPr>
          <p:cNvPr id="181" name="Picture 180" descr="VIDEO-CHAT-ICON.png">
            <a:extLst>
              <a:ext uri="{FF2B5EF4-FFF2-40B4-BE49-F238E27FC236}">
                <a16:creationId xmlns:a16="http://schemas.microsoft.com/office/drawing/2014/main" id="{CE6C5A46-B95B-9045-8F2D-91451D5466E7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6994" y="4468675"/>
            <a:ext cx="320097" cy="269871"/>
          </a:xfrm>
          <a:prstGeom prst="rect">
            <a:avLst/>
          </a:prstGeom>
        </p:spPr>
      </p:pic>
      <p:pic>
        <p:nvPicPr>
          <p:cNvPr id="182" name="Picture 181" descr="Download-icon.png">
            <a:extLst>
              <a:ext uri="{FF2B5EF4-FFF2-40B4-BE49-F238E27FC236}">
                <a16:creationId xmlns:a16="http://schemas.microsoft.com/office/drawing/2014/main" id="{03875F4E-41AA-B948-B527-D50CE58FF87D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2567" y="3984382"/>
            <a:ext cx="254976" cy="254976"/>
          </a:xfrm>
          <a:prstGeom prst="rect">
            <a:avLst/>
          </a:prstGeom>
        </p:spPr>
      </p:pic>
      <p:pic>
        <p:nvPicPr>
          <p:cNvPr id="183" name="Picture 182" descr="video-icon.jpg">
            <a:extLst>
              <a:ext uri="{FF2B5EF4-FFF2-40B4-BE49-F238E27FC236}">
                <a16:creationId xmlns:a16="http://schemas.microsoft.com/office/drawing/2014/main" id="{D1B37542-8B55-584A-966E-036F8CFED42D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24539" y="4389232"/>
            <a:ext cx="319616" cy="329129"/>
          </a:xfrm>
          <a:prstGeom prst="rect">
            <a:avLst/>
          </a:prstGeom>
        </p:spPr>
      </p:pic>
      <p:pic>
        <p:nvPicPr>
          <p:cNvPr id="184" name="Picture 183" descr="Pictures-Folder-Icon.png">
            <a:extLst>
              <a:ext uri="{FF2B5EF4-FFF2-40B4-BE49-F238E27FC236}">
                <a16:creationId xmlns:a16="http://schemas.microsoft.com/office/drawing/2014/main" id="{3DD97096-D3E7-7344-84BC-8FFC8438AFAD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9443" y="4344911"/>
            <a:ext cx="373450" cy="373450"/>
          </a:xfrm>
          <a:prstGeom prst="rect">
            <a:avLst/>
          </a:prstGeom>
        </p:spPr>
      </p:pic>
      <p:pic>
        <p:nvPicPr>
          <p:cNvPr id="185" name="Picture 184" descr="Screen shot 2012-12-10 at 12.06.11 PM.png">
            <a:extLst>
              <a:ext uri="{FF2B5EF4-FFF2-40B4-BE49-F238E27FC236}">
                <a16:creationId xmlns:a16="http://schemas.microsoft.com/office/drawing/2014/main" id="{533AE753-7576-FE4D-AF2E-90E26B699BB1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3010" y="4474064"/>
            <a:ext cx="278000" cy="273190"/>
          </a:xfrm>
          <a:prstGeom prst="rect">
            <a:avLst/>
          </a:prstGeom>
        </p:spPr>
      </p:pic>
      <p:pic>
        <p:nvPicPr>
          <p:cNvPr id="186" name="Picture 185" descr="images.jpg">
            <a:extLst>
              <a:ext uri="{FF2B5EF4-FFF2-40B4-BE49-F238E27FC236}">
                <a16:creationId xmlns:a16="http://schemas.microsoft.com/office/drawing/2014/main" id="{819E7F53-9BF5-634E-9907-9A3BC8E71531}"/>
              </a:ext>
            </a:extLst>
          </p:cNvPr>
          <p:cNvPicPr>
            <a:picLocks noChangeAspect="1"/>
          </p:cNvPicPr>
          <p:nvPr/>
        </p:nvPicPr>
        <p:blipFill rotWithShape="1"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7786" y="3938379"/>
            <a:ext cx="673969" cy="267707"/>
          </a:xfrm>
          <a:prstGeom prst="rect">
            <a:avLst/>
          </a:prstGeom>
        </p:spPr>
      </p:pic>
      <p:pic>
        <p:nvPicPr>
          <p:cNvPr id="187" name="Picture 186" descr="images.jpg">
            <a:extLst>
              <a:ext uri="{FF2B5EF4-FFF2-40B4-BE49-F238E27FC236}">
                <a16:creationId xmlns:a16="http://schemas.microsoft.com/office/drawing/2014/main" id="{0960A651-942A-9D4E-A6E4-8110B4B01A7A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4607" y="4361677"/>
            <a:ext cx="300078" cy="348305"/>
          </a:xfrm>
          <a:prstGeom prst="rect">
            <a:avLst/>
          </a:prstGeom>
        </p:spPr>
      </p:pic>
      <p:pic>
        <p:nvPicPr>
          <p:cNvPr id="188" name="Picture 187" descr="imgres.jpg">
            <a:extLst>
              <a:ext uri="{FF2B5EF4-FFF2-40B4-BE49-F238E27FC236}">
                <a16:creationId xmlns:a16="http://schemas.microsoft.com/office/drawing/2014/main" id="{06ACE500-7A85-EF4B-B399-696984A39EDE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9420" y="4443096"/>
            <a:ext cx="287493" cy="287493"/>
          </a:xfrm>
          <a:prstGeom prst="rect">
            <a:avLst/>
          </a:prstGeom>
        </p:spPr>
      </p:pic>
      <p:pic>
        <p:nvPicPr>
          <p:cNvPr id="189" name="Picture 188" descr="images.jpg">
            <a:extLst>
              <a:ext uri="{FF2B5EF4-FFF2-40B4-BE49-F238E27FC236}">
                <a16:creationId xmlns:a16="http://schemas.microsoft.com/office/drawing/2014/main" id="{86555F8F-9288-5F4F-AD7E-37416F6592B2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1803" y="4013623"/>
            <a:ext cx="297370" cy="297370"/>
          </a:xfrm>
          <a:prstGeom prst="rect">
            <a:avLst/>
          </a:prstGeom>
        </p:spPr>
      </p:pic>
      <p:pic>
        <p:nvPicPr>
          <p:cNvPr id="190" name="Picture 189" descr="imgres.jpg">
            <a:extLst>
              <a:ext uri="{FF2B5EF4-FFF2-40B4-BE49-F238E27FC236}">
                <a16:creationId xmlns:a16="http://schemas.microsoft.com/office/drawing/2014/main" id="{2BE16526-EEA4-5646-B4E2-A54E4E3F1D87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4994" y="3932300"/>
            <a:ext cx="464876" cy="359140"/>
          </a:xfrm>
          <a:prstGeom prst="rect">
            <a:avLst/>
          </a:prstGeom>
        </p:spPr>
      </p:pic>
      <p:pic>
        <p:nvPicPr>
          <p:cNvPr id="191" name="Picture 190" descr="email icon.jpg">
            <a:extLst>
              <a:ext uri="{FF2B5EF4-FFF2-40B4-BE49-F238E27FC236}">
                <a16:creationId xmlns:a16="http://schemas.microsoft.com/office/drawing/2014/main" id="{D54E2D00-3D1F-0A44-822C-87F440E81B6E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008" y="4438346"/>
            <a:ext cx="287718" cy="296999"/>
          </a:xfrm>
          <a:prstGeom prst="rect">
            <a:avLst/>
          </a:prstGeom>
        </p:spPr>
      </p:pic>
      <p:pic>
        <p:nvPicPr>
          <p:cNvPr id="192" name="Picture 191" descr="Screen shot 2012-12-10 at 11.03.22 AM.png">
            <a:extLst>
              <a:ext uri="{FF2B5EF4-FFF2-40B4-BE49-F238E27FC236}">
                <a16:creationId xmlns:a16="http://schemas.microsoft.com/office/drawing/2014/main" id="{DDEA4F3F-D72A-FE43-8275-A6C8894E9927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8897" y="4241433"/>
            <a:ext cx="316620" cy="312866"/>
          </a:xfrm>
          <a:prstGeom prst="rect">
            <a:avLst/>
          </a:prstGeom>
        </p:spPr>
      </p:pic>
      <p:sp>
        <p:nvSpPr>
          <p:cNvPr id="193" name="TextBox 192">
            <a:extLst>
              <a:ext uri="{FF2B5EF4-FFF2-40B4-BE49-F238E27FC236}">
                <a16:creationId xmlns:a16="http://schemas.microsoft.com/office/drawing/2014/main" id="{622EBEF9-6414-9143-99E8-899437AB6CF3}"/>
              </a:ext>
            </a:extLst>
          </p:cNvPr>
          <p:cNvSpPr txBox="1"/>
          <p:nvPr/>
        </p:nvSpPr>
        <p:spPr>
          <a:xfrm>
            <a:off x="3924796" y="3782122"/>
            <a:ext cx="28212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/>
              <a:t>1Mb/s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EF584266-9B25-6E46-BBC2-345D015F9BEC}"/>
              </a:ext>
            </a:extLst>
          </p:cNvPr>
          <p:cNvSpPr txBox="1"/>
          <p:nvPr/>
        </p:nvSpPr>
        <p:spPr>
          <a:xfrm>
            <a:off x="4959386" y="3782122"/>
            <a:ext cx="33342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/>
              <a:t>10Mb/s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0F69A47A-7816-6846-94FE-29D83469414F}"/>
              </a:ext>
            </a:extLst>
          </p:cNvPr>
          <p:cNvSpPr txBox="1"/>
          <p:nvPr/>
        </p:nvSpPr>
        <p:spPr>
          <a:xfrm>
            <a:off x="6242738" y="3782122"/>
            <a:ext cx="33342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/>
              <a:t>50Mb/s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03C7EB83-72B7-9347-8345-BC10BA8CA8B4}"/>
              </a:ext>
            </a:extLst>
          </p:cNvPr>
          <p:cNvSpPr txBox="1"/>
          <p:nvPr/>
        </p:nvSpPr>
        <p:spPr>
          <a:xfrm>
            <a:off x="7675583" y="3782122"/>
            <a:ext cx="25808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/>
              <a:t>1Gb/s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2BB6FA95-B134-DD46-B05E-998D87B20161}"/>
              </a:ext>
            </a:extLst>
          </p:cNvPr>
          <p:cNvSpPr txBox="1"/>
          <p:nvPr/>
        </p:nvSpPr>
        <p:spPr>
          <a:xfrm>
            <a:off x="8453268" y="4810300"/>
            <a:ext cx="25488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GB" sz="800" kern="0" dirty="0"/>
              <a:t>2019+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ADE726FA-70DD-684D-81EF-1C84D17C3D5D}"/>
              </a:ext>
            </a:extLst>
          </p:cNvPr>
          <p:cNvSpPr txBox="1"/>
          <p:nvPr/>
        </p:nvSpPr>
        <p:spPr>
          <a:xfrm>
            <a:off x="4442091" y="3782122"/>
            <a:ext cx="28212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/>
              <a:t>5Mb/s</a:t>
            </a:r>
          </a:p>
        </p:txBody>
      </p:sp>
    </p:spTree>
    <p:extLst>
      <p:ext uri="{BB962C8B-B14F-4D97-AF65-F5344CB8AC3E}">
        <p14:creationId xmlns:p14="http://schemas.microsoft.com/office/powerpoint/2010/main" val="697290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6E43C6-B48E-A544-BC2D-56AD1E02A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984" y="563147"/>
            <a:ext cx="8392532" cy="639325"/>
          </a:xfrm>
        </p:spPr>
        <p:txBody>
          <a:bodyPr/>
          <a:lstStyle/>
          <a:p>
            <a:r>
              <a:rPr lang="en-IN" dirty="0"/>
              <a:t>SOUTH AFRICAN DATA MARKET IS LARGE AND MOVING FROM TRADITIONAL LARGE FIXED-LINE PLAYERS TO DYNAMIC CHALLENGER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236C313-F20D-5D41-9A95-25968F3A73E5}"/>
              </a:ext>
            </a:extLst>
          </p:cNvPr>
          <p:cNvSpPr txBox="1">
            <a:spLocks/>
          </p:cNvSpPr>
          <p:nvPr/>
        </p:nvSpPr>
        <p:spPr>
          <a:xfrm>
            <a:off x="315724" y="2909062"/>
            <a:ext cx="2784230" cy="151573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58FA54-1FA2-EE42-9ABB-AAD0D678AD91}"/>
              </a:ext>
            </a:extLst>
          </p:cNvPr>
          <p:cNvSpPr txBox="1"/>
          <p:nvPr/>
        </p:nvSpPr>
        <p:spPr bwMode="gray">
          <a:xfrm>
            <a:off x="309656" y="4612298"/>
            <a:ext cx="8548688" cy="16158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541338" indent="-541338">
              <a:spcBef>
                <a:spcPts val="0"/>
              </a:spcBef>
              <a:buClr>
                <a:schemeClr val="tx1"/>
              </a:buClr>
              <a:buSzPct val="100000"/>
              <a:tabLst>
                <a:tab pos="449263" algn="r"/>
                <a:tab pos="541338" algn="l"/>
              </a:tabLst>
            </a:pPr>
            <a:r>
              <a:rPr lang="en-US" sz="1050" dirty="0"/>
              <a:t>	Note:	</a:t>
            </a:r>
            <a:r>
              <a:rPr lang="en-IN" sz="1050" dirty="0"/>
              <a:t>*Fixed broadband (DSL, fibre and leased line), business and home markets combined. Retail ISP share (not underlying physicals).</a:t>
            </a:r>
            <a:endParaRPr lang="en-US" sz="10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09C59C-FC69-9047-BA41-03E0E10E1F85}"/>
              </a:ext>
            </a:extLst>
          </p:cNvPr>
          <p:cNvSpPr txBox="1">
            <a:spLocks/>
          </p:cNvSpPr>
          <p:nvPr/>
        </p:nvSpPr>
        <p:spPr>
          <a:xfrm>
            <a:off x="315724" y="1337797"/>
            <a:ext cx="1482677" cy="288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BMI-T Dat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D7DD73D-4046-7C40-85CB-D1B971E4AA59}"/>
              </a:ext>
            </a:extLst>
          </p:cNvPr>
          <p:cNvSpPr txBox="1">
            <a:spLocks/>
          </p:cNvSpPr>
          <p:nvPr/>
        </p:nvSpPr>
        <p:spPr>
          <a:xfrm>
            <a:off x="1872617" y="1337797"/>
            <a:ext cx="2172382" cy="288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Market Today (2018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C70F72-DC33-5D41-85D7-52C0548FA189}"/>
              </a:ext>
            </a:extLst>
          </p:cNvPr>
          <p:cNvSpPr txBox="1">
            <a:spLocks/>
          </p:cNvSpPr>
          <p:nvPr/>
        </p:nvSpPr>
        <p:spPr>
          <a:xfrm>
            <a:off x="4445431" y="1337797"/>
            <a:ext cx="2172382" cy="288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Market Forecast (2023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BF3120C-E5BA-2B4B-B050-71BF7C3A827C}"/>
              </a:ext>
            </a:extLst>
          </p:cNvPr>
          <p:cNvSpPr txBox="1">
            <a:spLocks/>
          </p:cNvSpPr>
          <p:nvPr/>
        </p:nvSpPr>
        <p:spPr>
          <a:xfrm>
            <a:off x="6692029" y="1337797"/>
            <a:ext cx="2172382" cy="288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Product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5B1930-DA61-C04F-AB48-D8182E89F695}"/>
              </a:ext>
            </a:extLst>
          </p:cNvPr>
          <p:cNvSpPr>
            <a:spLocks/>
          </p:cNvSpPr>
          <p:nvPr/>
        </p:nvSpPr>
        <p:spPr>
          <a:xfrm>
            <a:off x="315724" y="1689669"/>
            <a:ext cx="1482491" cy="36988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Interne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4E6DC3-422A-964E-85E7-D6C41D80304F}"/>
              </a:ext>
            </a:extLst>
          </p:cNvPr>
          <p:cNvSpPr>
            <a:spLocks/>
          </p:cNvSpPr>
          <p:nvPr/>
        </p:nvSpPr>
        <p:spPr>
          <a:xfrm>
            <a:off x="1872617" y="1689669"/>
            <a:ext cx="2172382" cy="369888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dirty="0">
                <a:solidFill>
                  <a:schemeClr val="tx1"/>
                </a:solidFill>
              </a:rPr>
              <a:t>ZAR 12.2 Bill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7848FD-7016-5745-9DA8-3ECDCF11757C}"/>
              </a:ext>
            </a:extLst>
          </p:cNvPr>
          <p:cNvSpPr>
            <a:spLocks/>
          </p:cNvSpPr>
          <p:nvPr/>
        </p:nvSpPr>
        <p:spPr>
          <a:xfrm>
            <a:off x="4445431" y="1689669"/>
            <a:ext cx="2172382" cy="369888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dirty="0">
                <a:solidFill>
                  <a:schemeClr val="tx1"/>
                </a:solidFill>
              </a:rPr>
              <a:t>ZAR 14.7 Bill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C03991-EB0A-8941-9D7E-41E67E2A854D}"/>
              </a:ext>
            </a:extLst>
          </p:cNvPr>
          <p:cNvSpPr>
            <a:spLocks/>
          </p:cNvSpPr>
          <p:nvPr/>
        </p:nvSpPr>
        <p:spPr>
          <a:xfrm>
            <a:off x="6692029" y="1689669"/>
            <a:ext cx="2172382" cy="369888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dirty="0">
                <a:solidFill>
                  <a:schemeClr val="tx1"/>
                </a:solidFill>
              </a:rPr>
              <a:t>Internet Access</a:t>
            </a:r>
          </a:p>
          <a:p>
            <a:r>
              <a:rPr lang="en-GB" sz="1200" dirty="0">
                <a:solidFill>
                  <a:schemeClr val="tx1"/>
                </a:solidFill>
              </a:rPr>
              <a:t>IP Transi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18FED9-493D-F54C-BECA-7FB6660BE142}"/>
              </a:ext>
            </a:extLst>
          </p:cNvPr>
          <p:cNvSpPr>
            <a:spLocks/>
          </p:cNvSpPr>
          <p:nvPr/>
        </p:nvSpPr>
        <p:spPr>
          <a:xfrm>
            <a:off x="315724" y="2123429"/>
            <a:ext cx="1482491" cy="36988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Other Dat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6879593-98B4-D44C-84C9-A2B1F6CFAAD5}"/>
              </a:ext>
            </a:extLst>
          </p:cNvPr>
          <p:cNvSpPr>
            <a:spLocks/>
          </p:cNvSpPr>
          <p:nvPr/>
        </p:nvSpPr>
        <p:spPr>
          <a:xfrm>
            <a:off x="1872617" y="2123429"/>
            <a:ext cx="2172382" cy="369888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dirty="0">
                <a:solidFill>
                  <a:schemeClr val="tx1"/>
                </a:solidFill>
              </a:rPr>
              <a:t>ZAR 13.0 Bill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F2C9769-9F0A-AF48-BDF8-174D29A2A964}"/>
              </a:ext>
            </a:extLst>
          </p:cNvPr>
          <p:cNvSpPr>
            <a:spLocks/>
          </p:cNvSpPr>
          <p:nvPr/>
        </p:nvSpPr>
        <p:spPr>
          <a:xfrm>
            <a:off x="4445431" y="2123430"/>
            <a:ext cx="2172382" cy="369888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dirty="0">
                <a:solidFill>
                  <a:schemeClr val="tx1"/>
                </a:solidFill>
              </a:rPr>
              <a:t>ZAR 13.8 Bill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E2E1703-4726-4E40-B627-B1082EBE8DAA}"/>
              </a:ext>
            </a:extLst>
          </p:cNvPr>
          <p:cNvSpPr>
            <a:spLocks/>
          </p:cNvSpPr>
          <p:nvPr/>
        </p:nvSpPr>
        <p:spPr>
          <a:xfrm>
            <a:off x="6692029" y="2123430"/>
            <a:ext cx="2172382" cy="369888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dirty="0">
                <a:solidFill>
                  <a:schemeClr val="tx1"/>
                </a:solidFill>
              </a:rPr>
              <a:t>MPLS/Ethernet</a:t>
            </a:r>
          </a:p>
          <a:p>
            <a:r>
              <a:rPr lang="en-GB" sz="1200" dirty="0">
                <a:solidFill>
                  <a:schemeClr val="tx1"/>
                </a:solidFill>
              </a:rPr>
              <a:t>VPN</a:t>
            </a:r>
          </a:p>
        </p:txBody>
      </p:sp>
      <p:sp>
        <p:nvSpPr>
          <p:cNvPr id="21" name="Isosceles Triangle 215">
            <a:extLst>
              <a:ext uri="{FF2B5EF4-FFF2-40B4-BE49-F238E27FC236}">
                <a16:creationId xmlns:a16="http://schemas.microsoft.com/office/drawing/2014/main" id="{C4D29B67-2222-E946-8E44-AA175DA2335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5400000">
            <a:off x="3669215" y="1826407"/>
            <a:ext cx="1152000" cy="252000"/>
          </a:xfrm>
          <a:prstGeom prst="triangle">
            <a:avLst/>
          </a:prstGeom>
          <a:solidFill>
            <a:srgbClr val="B5B0A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C19C9C-05C2-204B-B538-1E41887AF51D}"/>
              </a:ext>
            </a:extLst>
          </p:cNvPr>
          <p:cNvSpPr txBox="1">
            <a:spLocks/>
          </p:cNvSpPr>
          <p:nvPr/>
        </p:nvSpPr>
        <p:spPr>
          <a:xfrm>
            <a:off x="315721" y="2557190"/>
            <a:ext cx="8548688" cy="288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Changing nature of competition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FCE20DEB-225C-1B4F-9F2C-2FC4241479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9010804"/>
              </p:ext>
            </p:extLst>
          </p:nvPr>
        </p:nvGraphicFramePr>
        <p:xfrm>
          <a:off x="321827" y="3274630"/>
          <a:ext cx="2778125" cy="1146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224D6F6A-257F-B841-8CC9-C60B2ACDA556}"/>
              </a:ext>
            </a:extLst>
          </p:cNvPr>
          <p:cNvSpPr txBox="1">
            <a:spLocks/>
          </p:cNvSpPr>
          <p:nvPr/>
        </p:nvSpPr>
        <p:spPr>
          <a:xfrm>
            <a:off x="315722" y="2909062"/>
            <a:ext cx="2784230" cy="368924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IN" sz="1200" b="1" dirty="0">
                <a:solidFill>
                  <a:schemeClr val="bg1"/>
                </a:solidFill>
              </a:rPr>
              <a:t>Indicative market share shift in SA retail fixed* broadband, 2010 vs. 2018</a:t>
            </a:r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76A97406-4A20-1E43-B683-65AE4C52AA26}"/>
              </a:ext>
            </a:extLst>
          </p:cNvPr>
          <p:cNvSpPr/>
          <p:nvPr/>
        </p:nvSpPr>
        <p:spPr>
          <a:xfrm>
            <a:off x="3165719" y="2909063"/>
            <a:ext cx="1811047" cy="151573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0" y="0"/>
                </a:lnTo>
                <a:lnTo>
                  <a:pt x="10000" y="2000"/>
                </a:lnTo>
                <a:lnTo>
                  <a:pt x="10000" y="8000"/>
                </a:lnTo>
                <a:lnTo>
                  <a:pt x="0" y="1000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4000" rIns="72000" bIns="72000" numCol="1" spcCol="1270" anchor="t" anchorCtr="0">
            <a:noAutofit/>
          </a:bodyPr>
          <a:lstStyle/>
          <a:p>
            <a:pPr lvl="0" algn="l" defTabSz="533400">
              <a:spcBef>
                <a:spcPts val="400"/>
              </a:spcBef>
            </a:pPr>
            <a:r>
              <a:rPr lang="en-ZA" sz="1000" b="1" kern="1200" dirty="0"/>
              <a:t>Last 5 years</a:t>
            </a:r>
          </a:p>
          <a:p>
            <a:pPr marL="108000" lvl="1" indent="-108000" algn="l" defTabSz="400050">
              <a:spcBef>
                <a:spcPts val="400"/>
              </a:spcBef>
              <a:buChar char="••"/>
            </a:pPr>
            <a:r>
              <a:rPr lang="en-ZA" sz="1000" kern="1200" dirty="0"/>
              <a:t>Fibre disrupts the market</a:t>
            </a:r>
          </a:p>
          <a:p>
            <a:pPr marL="108000" lvl="1" indent="-108000" algn="l" defTabSz="400050">
              <a:spcBef>
                <a:spcPts val="400"/>
              </a:spcBef>
              <a:buChar char="••"/>
            </a:pPr>
            <a:r>
              <a:rPr lang="en-ZA" sz="1000" kern="1200" dirty="0"/>
              <a:t>Aggressive price/ performance shift</a:t>
            </a:r>
          </a:p>
          <a:p>
            <a:pPr marL="108000" lvl="1" indent="-108000" algn="l" defTabSz="400050">
              <a:spcBef>
                <a:spcPts val="400"/>
              </a:spcBef>
              <a:buChar char="••"/>
            </a:pPr>
            <a:r>
              <a:rPr lang="en-ZA" sz="1000" kern="1200" dirty="0"/>
              <a:t>Rapid growth in fibre penetration off low base</a:t>
            </a: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EF72C8E9-F927-7D41-A2F9-7A97A42BD7F0}"/>
              </a:ext>
            </a:extLst>
          </p:cNvPr>
          <p:cNvSpPr/>
          <p:nvPr/>
        </p:nvSpPr>
        <p:spPr>
          <a:xfrm>
            <a:off x="5112596" y="2909063"/>
            <a:ext cx="1811046" cy="151573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0" y="0"/>
                </a:lnTo>
                <a:lnTo>
                  <a:pt x="10000" y="2000"/>
                </a:lnTo>
                <a:lnTo>
                  <a:pt x="10000" y="8000"/>
                </a:lnTo>
                <a:lnTo>
                  <a:pt x="0" y="10000"/>
                </a:lnTo>
                <a:close/>
              </a:path>
            </a:pathLst>
          </a:cu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4000" rIns="72000" bIns="72000" numCol="1" spcCol="1270" anchor="t" anchorCtr="0">
            <a:noAutofit/>
          </a:bodyPr>
          <a:lstStyle/>
          <a:p>
            <a:pPr lvl="0" algn="l" defTabSz="533400">
              <a:spcBef>
                <a:spcPts val="400"/>
              </a:spcBef>
            </a:pPr>
            <a:r>
              <a:rPr lang="en-ZA" sz="1000" b="1" kern="1200" dirty="0"/>
              <a:t>Today</a:t>
            </a:r>
          </a:p>
          <a:p>
            <a:pPr marL="108000" lvl="1" indent="-108000" algn="l" defTabSz="400050">
              <a:spcBef>
                <a:spcPts val="400"/>
              </a:spcBef>
              <a:buChar char="••"/>
            </a:pPr>
            <a:r>
              <a:rPr lang="en-ZA" sz="1000" kern="1200" dirty="0"/>
              <a:t>Pricing stabilised</a:t>
            </a:r>
          </a:p>
          <a:p>
            <a:pPr marL="108000" lvl="1" indent="-108000" algn="l" defTabSz="400050">
              <a:spcBef>
                <a:spcPts val="400"/>
              </a:spcBef>
              <a:buChar char="••"/>
            </a:pPr>
            <a:r>
              <a:rPr lang="en-ZA" sz="1000" kern="1200" dirty="0"/>
              <a:t>Services create customer stickiness</a:t>
            </a:r>
          </a:p>
          <a:p>
            <a:pPr marL="108000" lvl="1" indent="-108000" algn="l" defTabSz="400050">
              <a:spcBef>
                <a:spcPts val="400"/>
              </a:spcBef>
              <a:buChar char="••"/>
            </a:pPr>
            <a:r>
              <a:rPr lang="en-ZA" sz="1000" kern="1200" dirty="0"/>
              <a:t>Penetration &lt;30% in SME &amp; upper LSM segments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A19EBDD2-DE48-7347-A36C-CF907909F46A}"/>
              </a:ext>
            </a:extLst>
          </p:cNvPr>
          <p:cNvSpPr/>
          <p:nvPr/>
        </p:nvSpPr>
        <p:spPr>
          <a:xfrm>
            <a:off x="7059471" y="2909063"/>
            <a:ext cx="1811046" cy="151573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0" y="0"/>
                </a:lnTo>
                <a:lnTo>
                  <a:pt x="10000" y="2000"/>
                </a:lnTo>
                <a:lnTo>
                  <a:pt x="10000" y="8000"/>
                </a:lnTo>
                <a:lnTo>
                  <a:pt x="0" y="10000"/>
                </a:lnTo>
                <a:close/>
              </a:path>
            </a:pathLst>
          </a:custGeom>
          <a:solidFill>
            <a:schemeClr val="accent6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4000" rIns="72000" bIns="72000" numCol="1" spcCol="1270" anchor="t" anchorCtr="0">
            <a:noAutofit/>
          </a:bodyPr>
          <a:lstStyle/>
          <a:p>
            <a:pPr lvl="0" algn="l" defTabSz="533400">
              <a:spcBef>
                <a:spcPts val="400"/>
              </a:spcBef>
            </a:pPr>
            <a:r>
              <a:rPr lang="en-ZA" sz="1000" b="1" kern="1200" dirty="0"/>
              <a:t>Next 3 years</a:t>
            </a:r>
          </a:p>
          <a:p>
            <a:pPr marL="108000" lvl="1" indent="-108000" algn="l" defTabSz="400050">
              <a:spcBef>
                <a:spcPts val="400"/>
              </a:spcBef>
              <a:buChar char="••"/>
            </a:pPr>
            <a:r>
              <a:rPr lang="en-ZA" sz="1000" kern="1200" dirty="0"/>
              <a:t>Further market penetration </a:t>
            </a:r>
          </a:p>
          <a:p>
            <a:pPr marL="108000" lvl="1" indent="-108000" algn="l" defTabSz="400050">
              <a:spcBef>
                <a:spcPts val="400"/>
              </a:spcBef>
              <a:buChar char="••"/>
            </a:pPr>
            <a:r>
              <a:rPr lang="en-ZA" sz="1000" kern="1200" dirty="0"/>
              <a:t>Growth will come mainly from next customer tier (lower ARPUs)</a:t>
            </a:r>
          </a:p>
        </p:txBody>
      </p:sp>
    </p:spTree>
    <p:extLst>
      <p:ext uri="{BB962C8B-B14F-4D97-AF65-F5344CB8AC3E}">
        <p14:creationId xmlns:p14="http://schemas.microsoft.com/office/powerpoint/2010/main" val="14139127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SEA598_NMglobal_WSppt_1-0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" y="-9679"/>
            <a:ext cx="914311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BA99F2B-99B5-004C-85D2-F45C1963543D}"/>
              </a:ext>
            </a:extLst>
          </p:cNvPr>
          <p:cNvSpPr/>
          <p:nvPr/>
        </p:nvSpPr>
        <p:spPr>
          <a:xfrm>
            <a:off x="188843" y="96644"/>
            <a:ext cx="3715500" cy="2723823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FFFFFF"/>
                </a:solidFill>
              </a:rPr>
              <a:t>CURRENT KEY SOUTHERN AFRICA </a:t>
            </a:r>
          </a:p>
          <a:p>
            <a:r>
              <a:rPr lang="en-GB" sz="2000" b="1" dirty="0">
                <a:solidFill>
                  <a:srgbClr val="FFFFFF"/>
                </a:solidFill>
              </a:rPr>
              <a:t>SUBSEA CABLES</a:t>
            </a:r>
            <a:br>
              <a:rPr lang="en-GB" sz="2000" dirty="0">
                <a:solidFill>
                  <a:srgbClr val="FFFFFF"/>
                </a:solidFill>
              </a:rPr>
            </a:br>
            <a:br>
              <a:rPr lang="en-GB" sz="2000" dirty="0">
                <a:solidFill>
                  <a:srgbClr val="FFFFFF"/>
                </a:solidFill>
              </a:rPr>
            </a:br>
            <a:r>
              <a:rPr lang="en-GB" sz="1600" dirty="0">
                <a:solidFill>
                  <a:srgbClr val="FFFFFF"/>
                </a:solidFill>
              </a:rPr>
              <a:t>Existing “Ring around Africa” </a:t>
            </a:r>
            <a:br>
              <a:rPr lang="en-GB" sz="1600" dirty="0">
                <a:solidFill>
                  <a:srgbClr val="FFFFFF"/>
                </a:solidFill>
              </a:rPr>
            </a:br>
            <a:br>
              <a:rPr lang="en-GB" sz="1600" dirty="0">
                <a:solidFill>
                  <a:srgbClr val="FFFFFF"/>
                </a:solidFill>
              </a:rPr>
            </a:br>
            <a:r>
              <a:rPr lang="en-GB" sz="1600" dirty="0">
                <a:solidFill>
                  <a:srgbClr val="FFFFFF"/>
                </a:solidFill>
              </a:rPr>
              <a:t>Three Key High-Speed Subsea Routes</a:t>
            </a:r>
            <a:br>
              <a:rPr lang="en-GB" sz="1600" dirty="0">
                <a:solidFill>
                  <a:srgbClr val="FFFFFF"/>
                </a:solidFill>
              </a:rPr>
            </a:br>
            <a:br>
              <a:rPr lang="en-GB" sz="1600" dirty="0">
                <a:solidFill>
                  <a:srgbClr val="FFFFFF"/>
                </a:solidFill>
              </a:rPr>
            </a:br>
            <a:r>
              <a:rPr lang="en-GB" sz="1600" dirty="0">
                <a:solidFill>
                  <a:srgbClr val="FFFFFF"/>
                </a:solidFill>
              </a:rPr>
              <a:t>Mix of Consortium and Private Builds</a:t>
            </a:r>
          </a:p>
          <a:p>
            <a:endParaRPr lang="en-GB" sz="1600" dirty="0">
              <a:solidFill>
                <a:srgbClr val="FFFFFF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5995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985CC9C-64D7-CE48-857B-2AE3EEB016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985" y="1095907"/>
            <a:ext cx="5705016" cy="3100388"/>
          </a:xfrm>
        </p:spPr>
        <p:txBody>
          <a:bodyPr/>
          <a:lstStyle/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b="1" dirty="0">
                <a:cs typeface="Lucida Grande"/>
              </a:rPr>
              <a:t>Upgrades continue</a:t>
            </a:r>
            <a:r>
              <a:rPr lang="en-GB" sz="1600" dirty="0">
                <a:cs typeface="Lucida Grande"/>
              </a:rPr>
              <a:t>, with incremental upgrade costs continuing to decline and drive down overall average cost per MB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Most capacity utilized on the “Super Highways” into South Africa, Kenya, and Nigeria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Content and Cloud Service Providers rolling out more infrastructure and investment in Africa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Increase in African regional traffic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Prices for IP Transit at </a:t>
            </a:r>
            <a:r>
              <a:rPr lang="en-GB" sz="1600" b="1" dirty="0">
                <a:cs typeface="Lucida Grande"/>
              </a:rPr>
              <a:t>US$3/MB </a:t>
            </a:r>
            <a:r>
              <a:rPr lang="en-GB" sz="1600" dirty="0">
                <a:cs typeface="Lucida Grande"/>
              </a:rPr>
              <a:t>in South Africa for medium volume commit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IRU 10G at under </a:t>
            </a:r>
            <a:r>
              <a:rPr lang="en-GB" sz="1600" b="1" dirty="0">
                <a:cs typeface="Lucida Grande"/>
              </a:rPr>
              <a:t>US$1m </a:t>
            </a:r>
            <a:r>
              <a:rPr lang="en-GB" sz="1600" dirty="0">
                <a:cs typeface="Lucida Grande"/>
              </a:rPr>
              <a:t>South Africa to Europe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BC6208F-84C1-BB4C-A4EF-683036791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OUTHERN AFRICAN SUBSEA MARKET DYNAMIC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A3B4F8-F5D8-1E42-88AB-B939D0830B0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1" y="1348182"/>
            <a:ext cx="2749902" cy="284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6228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SEA598_NMsa_WSppt_2-0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" y="0"/>
            <a:ext cx="9143111" cy="51435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4B2BAB4-1B74-B64B-97D3-C00E63157E96}"/>
              </a:ext>
            </a:extLst>
          </p:cNvPr>
          <p:cNvSpPr txBox="1">
            <a:spLocks/>
          </p:cNvSpPr>
          <p:nvPr/>
        </p:nvSpPr>
        <p:spPr>
          <a:xfrm>
            <a:off x="77043" y="1460407"/>
            <a:ext cx="3698887" cy="105537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89626" rtl="0" eaLnBrk="1" latinLnBrk="0" hangingPunct="1">
              <a:spcBef>
                <a:spcPct val="0"/>
              </a:spcBef>
              <a:buNone/>
              <a:defRPr lang="en-US" sz="1700" b="1" kern="1200" dirty="0">
                <a:solidFill>
                  <a:schemeClr val="tx1"/>
                </a:solidFill>
                <a:latin typeface="+mj-lt"/>
                <a:ea typeface="+mj-ea"/>
                <a:cs typeface="Rockwell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b="0" dirty="0">
                <a:solidFill>
                  <a:srgbClr val="FFFFFF"/>
                </a:solidFill>
              </a:rPr>
              <a:t>Terrestrial networks key to efficient resilienc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b="0" dirty="0">
                <a:solidFill>
                  <a:srgbClr val="FFFFFF"/>
                </a:solidFill>
              </a:rPr>
              <a:t>Connect East to West Coasts at high speed and low cost</a:t>
            </a:r>
          </a:p>
          <a:p>
            <a:endParaRPr lang="en-GB" sz="1600" b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2027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C5FB707-F627-B64E-9335-2D492341B6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984" y="1312044"/>
            <a:ext cx="5835645" cy="3100388"/>
          </a:xfrm>
        </p:spPr>
        <p:txBody>
          <a:bodyPr/>
          <a:lstStyle/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Cloud demand is increasing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Existing subsea cables are upgrading more frequently, and will reach their ultimate capacity in a few years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Existing cables are ageing 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Only three key routes, two on East Coast and one on West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New subsea cables take years to construct, activate and reach the market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Cable investments are highly capital intensive and cost hundreds of millions of US dollars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Terrestrial infrastructure within Africa is still developing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4393E0-10CF-AB45-8091-4127C5CE2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SSUES FACING SUBSEA INFRASTRUCTURE IN AFRICA</a:t>
            </a:r>
            <a:endParaRPr lang="en-US" dirty="0"/>
          </a:p>
        </p:txBody>
      </p:sp>
      <p:pic>
        <p:nvPicPr>
          <p:cNvPr id="6" name="Picture 5" descr="imgres.jpg">
            <a:extLst>
              <a:ext uri="{FF2B5EF4-FFF2-40B4-BE49-F238E27FC236}">
                <a16:creationId xmlns:a16="http://schemas.microsoft.com/office/drawing/2014/main" id="{6F36C059-F1C3-6745-9401-73907BBD9D2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6629" y="1603026"/>
            <a:ext cx="2634510" cy="191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7475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2186E7-EC85-674D-AE8C-03036454B2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984" y="983580"/>
            <a:ext cx="8399585" cy="3100388"/>
          </a:xfrm>
        </p:spPr>
        <p:txBody>
          <a:bodyPr/>
          <a:lstStyle/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800" dirty="0">
                <a:cs typeface="Lucida Grande"/>
              </a:rPr>
              <a:t>Consortium</a:t>
            </a:r>
          </a:p>
          <a:p>
            <a:pPr marL="569626" lvl="1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Lots of investors (carriers, ISPs, MNO, etc)</a:t>
            </a:r>
          </a:p>
          <a:p>
            <a:pPr marL="569626" lvl="1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Lots of bureaucracy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800" dirty="0">
                <a:cs typeface="Lucida Grande"/>
              </a:rPr>
              <a:t>Private</a:t>
            </a:r>
          </a:p>
          <a:p>
            <a:pPr marL="569626" lvl="1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High risk</a:t>
            </a:r>
          </a:p>
          <a:p>
            <a:pPr marL="569626" lvl="1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Highly agile</a:t>
            </a:r>
          </a:p>
          <a:p>
            <a:pPr marL="180000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800" dirty="0">
                <a:cs typeface="Lucida Grande"/>
              </a:rPr>
              <a:t>Hybrids</a:t>
            </a:r>
          </a:p>
          <a:p>
            <a:pPr marL="569626" lvl="1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Shared risk</a:t>
            </a:r>
          </a:p>
          <a:p>
            <a:pPr marL="569626" lvl="1" indent="-180000">
              <a:spcBef>
                <a:spcPts val="600"/>
              </a:spcBef>
              <a:buFont typeface="Arial"/>
              <a:buChar char="•"/>
              <a:defRPr/>
            </a:pPr>
            <a:r>
              <a:rPr lang="en-GB" sz="1600" dirty="0">
                <a:cs typeface="Lucida Grande"/>
              </a:rPr>
              <a:t>More agile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C9772E-3429-F34F-B20F-437F43210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UBSEA INFRASTRUCTURE INVESTMENT MODEL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8F881B-AE9A-1E4F-BBA0-FCC4DF617F2F}"/>
              </a:ext>
            </a:extLst>
          </p:cNvPr>
          <p:cNvSpPr txBox="1"/>
          <p:nvPr/>
        </p:nvSpPr>
        <p:spPr>
          <a:xfrm>
            <a:off x="745216" y="4322618"/>
            <a:ext cx="7027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Subsea Cable Infrastructure investment is usually a “build vs buy” decision</a:t>
            </a:r>
          </a:p>
        </p:txBody>
      </p:sp>
    </p:spTree>
    <p:extLst>
      <p:ext uri="{BB962C8B-B14F-4D97-AF65-F5344CB8AC3E}">
        <p14:creationId xmlns:p14="http://schemas.microsoft.com/office/powerpoint/2010/main" val="2823925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ZHRntFTpy0OA1mfqb1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qmcm6kRVqa1daweftl0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ACOM 2015 Template">
  <a:themeElements>
    <a:clrScheme name="SEACOM">
      <a:dk1>
        <a:srgbClr val="16161C"/>
      </a:dk1>
      <a:lt1>
        <a:srgbClr val="FFFFFF"/>
      </a:lt1>
      <a:dk2>
        <a:srgbClr val="3777AB"/>
      </a:dk2>
      <a:lt2>
        <a:srgbClr val="16161C"/>
      </a:lt2>
      <a:accent1>
        <a:srgbClr val="5498C6"/>
      </a:accent1>
      <a:accent2>
        <a:srgbClr val="3777AB"/>
      </a:accent2>
      <a:accent3>
        <a:srgbClr val="81C8F5"/>
      </a:accent3>
      <a:accent4>
        <a:srgbClr val="FAD6CE"/>
      </a:accent4>
      <a:accent5>
        <a:srgbClr val="F9F593"/>
      </a:accent5>
      <a:accent6>
        <a:srgbClr val="8CA2E6"/>
      </a:accent6>
      <a:hlink>
        <a:srgbClr val="9EF4A3"/>
      </a:hlink>
      <a:folHlink>
        <a:srgbClr val="CB81FB"/>
      </a:folHlink>
    </a:clrScheme>
    <a:fontScheme name="Custom 1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COM_PowerPoint_vFinal.potx" id="{EE159404-408F-474D-B77A-124562202F92}" vid="{558B4804-DF49-4EE5-8CF9-8D134FE14A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ACOM 2015 Template</Template>
  <TotalTime>3031</TotalTime>
  <Words>853</Words>
  <Application>Microsoft Macintosh PowerPoint</Application>
  <PresentationFormat>On-screen Show (16:9)</PresentationFormat>
  <Paragraphs>143</Paragraphs>
  <Slides>1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 Unicode MS</vt:lpstr>
      <vt:lpstr>Arial</vt:lpstr>
      <vt:lpstr>Calibri</vt:lpstr>
      <vt:lpstr>Courier New</vt:lpstr>
      <vt:lpstr>Lucida Grande</vt:lpstr>
      <vt:lpstr>Montserrat</vt:lpstr>
      <vt:lpstr>Rockwell</vt:lpstr>
      <vt:lpstr>SEACOM 2015 Template</vt:lpstr>
      <vt:lpstr>think-cell Slide</vt:lpstr>
      <vt:lpstr>SUBMARINE CABLES FOR AFRICA</vt:lpstr>
      <vt:lpstr>SEACOM TRANSFORMED INTERNET CONNECTIVITY IN AFRICA IN 2009</vt:lpstr>
      <vt:lpstr>AFRICAN MARKET TRENDS</vt:lpstr>
      <vt:lpstr>SOUTH AFRICAN DATA MARKET IS LARGE AND MOVING FROM TRADITIONAL LARGE FIXED-LINE PLAYERS TO DYNAMIC CHALLENGERS</vt:lpstr>
      <vt:lpstr>PowerPoint Presentation</vt:lpstr>
      <vt:lpstr>SOUTHERN AFRICAN SUBSEA MARKET DYNAMICS</vt:lpstr>
      <vt:lpstr>PowerPoint Presentation</vt:lpstr>
      <vt:lpstr>ISSUES FACING SUBSEA INFRASTRUCTURE IN AFRICA</vt:lpstr>
      <vt:lpstr>SUBSEA INFRASTRUCTURE INVESTMENT MODELS</vt:lpstr>
      <vt:lpstr>PowerPoint Presentation</vt:lpstr>
      <vt:lpstr>SUMMARY</vt:lpstr>
      <vt:lpstr>THANK YOU</vt:lpstr>
    </vt:vector>
  </TitlesOfParts>
  <LinksUpToDate>false</LinksUpToDate>
  <SharedDoc>false</SharedDoc>
  <HyperlinkBase/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user025</dc:creator>
  <cp:lastModifiedBy>Microsoft Office User</cp:lastModifiedBy>
  <cp:revision>409</cp:revision>
  <cp:lastPrinted>2019-05-31T08:11:04Z</cp:lastPrinted>
  <dcterms:created xsi:type="dcterms:W3CDTF">2015-03-23T08:57:56Z</dcterms:created>
  <dcterms:modified xsi:type="dcterms:W3CDTF">2019-08-27T07:1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toPageNumberingON">
    <vt:bool>true</vt:bool>
  </property>
  <property fmtid="{D5CDD505-2E9C-101B-9397-08002B2CF9AE}" pid="3" name="TabStyleTOC">
    <vt:bool>false</vt:bool>
  </property>
  <property fmtid="{D5CDD505-2E9C-101B-9397-08002B2CF9AE}" pid="4" name="ShowDocPath">
    <vt:bool>false</vt:bool>
  </property>
  <property fmtid="{D5CDD505-2E9C-101B-9397-08002B2CF9AE}" pid="5" name="NotesPageLayout">
    <vt:lpwstr>Message</vt:lpwstr>
  </property>
  <property fmtid="{D5CDD505-2E9C-101B-9397-08002B2CF9AE}" pid="6" name="DocID">
    <vt:lpwstr/>
  </property>
  <property fmtid="{D5CDD505-2E9C-101B-9397-08002B2CF9AE}" pid="7" name="DocIDPosition">
    <vt:i4>0</vt:i4>
  </property>
  <property fmtid="{D5CDD505-2E9C-101B-9397-08002B2CF9AE}" pid="8" name="DocIDinTitle">
    <vt:bool>true</vt:bool>
  </property>
  <property fmtid="{D5CDD505-2E9C-101B-9397-08002B2CF9AE}" pid="9" name="DocIDinSlide">
    <vt:bool>true</vt:bool>
  </property>
  <property fmtid="{D5CDD505-2E9C-101B-9397-08002B2CF9AE}" pid="10" name="Title">
    <vt:lpwstr>Title</vt:lpwstr>
  </property>
  <property fmtid="{D5CDD505-2E9C-101B-9397-08002B2CF9AE}" pid="11" name="Final">
    <vt:bool>true</vt:bool>
  </property>
  <property fmtid="{D5CDD505-2E9C-101B-9397-08002B2CF9AE}" pid="12" name="Event">
    <vt:lpwstr/>
  </property>
  <property fmtid="{D5CDD505-2E9C-101B-9397-08002B2CF9AE}" pid="13" name="Delivery Date">
    <vt:lpwstr/>
  </property>
</Properties>
</file>